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6.xml" ContentType="application/vnd.openxmlformats-officedocument.presentationml.tags+xml"/>
  <Override PartName="/ppt/notesSlides/notesSlide3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4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62.xml" ContentType="application/vnd.openxmlformats-officedocument.presentationml.tags+xml"/>
  <Override PartName="/ppt/notesSlides/notesSlide6.xml" ContentType="application/vnd.openxmlformats-officedocument.presentationml.notesSlide+xml"/>
  <Override PartName="/ppt/tags/tag63.xml" ContentType="application/vnd.openxmlformats-officedocument.presentationml.tags+xml"/>
  <Override PartName="/ppt/notesSlides/notesSlide7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64.xml" ContentType="application/vnd.openxmlformats-officedocument.presentationml.tags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1618" r:id="rId5"/>
    <p:sldId id="3383" r:id="rId6"/>
    <p:sldId id="1854" r:id="rId7"/>
    <p:sldId id="1853" r:id="rId8"/>
    <p:sldId id="1858" r:id="rId9"/>
    <p:sldId id="1866" r:id="rId10"/>
    <p:sldId id="1871" r:id="rId11"/>
    <p:sldId id="2146846666" r:id="rId12"/>
    <p:sldId id="1950" r:id="rId13"/>
    <p:sldId id="2145706822" r:id="rId14"/>
    <p:sldId id="272" r:id="rId15"/>
    <p:sldId id="2091" r:id="rId16"/>
  </p:sldIdLst>
  <p:sldSz cx="12192000" cy="6858000"/>
  <p:notesSz cx="6858000" cy="9144000"/>
  <p:custDataLst>
    <p:tags r:id="rId19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ukhaug, Bjørnar" initials="KB" lastIdx="5" clrIdx="0">
    <p:extLst>
      <p:ext uri="{19B8F6BF-5375-455C-9EA6-DF929625EA0E}">
        <p15:presenceInfo xmlns:p15="http://schemas.microsoft.com/office/powerpoint/2012/main" userId="S::Bjornar.Krukhaug@dnv.com::997a0284-4adb-4506-b3e7-83d24bf09041" providerId="AD"/>
      </p:ext>
    </p:extLst>
  </p:cmAuthor>
  <p:cmAuthor id="2" name="Coq, Thierry" initials="CT" lastIdx="1" clrIdx="1">
    <p:extLst>
      <p:ext uri="{19B8F6BF-5375-455C-9EA6-DF929625EA0E}">
        <p15:presenceInfo xmlns:p15="http://schemas.microsoft.com/office/powerpoint/2012/main" userId="S::Thierry.Coq@dnv.com::3194d961-5954-4c5e-9a60-cc3e05ec208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591"/>
    <a:srgbClr val="0F20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9AA7C77-24FB-48CA-92C0-752C4BFAD243}" v="1" dt="2023-06-01T06:31:23.712"/>
  </p1510:revLst>
</p1510:revInfo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71" autoAdjust="0"/>
    <p:restoredTop sz="78996" autoAdjust="0"/>
  </p:normalViewPr>
  <p:slideViewPr>
    <p:cSldViewPr snapToObjects="1" showGuides="1">
      <p:cViewPr varScale="1">
        <p:scale>
          <a:sx n="64" d="100"/>
          <a:sy n="64" d="100"/>
        </p:scale>
        <p:origin x="792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84" d="100"/>
          <a:sy n="84" d="100"/>
        </p:scale>
        <p:origin x="391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eardon, Shaun" userId="8e65eb91-fa40-481f-a3ca-c67e828d6a0e" providerId="ADAL" clId="{29AA7C77-24FB-48CA-92C0-752C4BFAD243}"/>
    <pc:docChg chg="modSld">
      <pc:chgData name="Reardon, Shaun" userId="8e65eb91-fa40-481f-a3ca-c67e828d6a0e" providerId="ADAL" clId="{29AA7C77-24FB-48CA-92C0-752C4BFAD243}" dt="2023-06-01T06:31:37.418" v="1" actId="729"/>
      <pc:docMkLst>
        <pc:docMk/>
      </pc:docMkLst>
      <pc:sldChg chg="addSp delSp modSp mod modShow">
        <pc:chgData name="Reardon, Shaun" userId="8e65eb91-fa40-481f-a3ca-c67e828d6a0e" providerId="ADAL" clId="{29AA7C77-24FB-48CA-92C0-752C4BFAD243}" dt="2023-06-01T06:31:37.418" v="1" actId="729"/>
        <pc:sldMkLst>
          <pc:docMk/>
          <pc:sldMk cId="613818322" sldId="1950"/>
        </pc:sldMkLst>
        <pc:spChg chg="add del mod">
          <ac:chgData name="Reardon, Shaun" userId="8e65eb91-fa40-481f-a3ca-c67e828d6a0e" providerId="ADAL" clId="{29AA7C77-24FB-48CA-92C0-752C4BFAD243}" dt="2023-06-01T06:31:23.712" v="0"/>
          <ac:spMkLst>
            <pc:docMk/>
            <pc:sldMk cId="613818322" sldId="1950"/>
            <ac:spMk id="3" creationId="{02CCB716-8804-EDBE-36D8-A22DAE073BE9}"/>
          </ac:spMkLst>
        </pc:spChg>
        <pc:spChg chg="add del mod">
          <ac:chgData name="Reardon, Shaun" userId="8e65eb91-fa40-481f-a3ca-c67e828d6a0e" providerId="ADAL" clId="{29AA7C77-24FB-48CA-92C0-752C4BFAD243}" dt="2023-06-01T06:31:23.712" v="0"/>
          <ac:spMkLst>
            <pc:docMk/>
            <pc:sldMk cId="613818322" sldId="1950"/>
            <ac:spMk id="6" creationId="{1E268487-42BA-E477-5918-7155026F5587}"/>
          </ac:spMkLst>
        </pc:spChg>
        <pc:spChg chg="add del mod">
          <ac:chgData name="Reardon, Shaun" userId="8e65eb91-fa40-481f-a3ca-c67e828d6a0e" providerId="ADAL" clId="{29AA7C77-24FB-48CA-92C0-752C4BFAD243}" dt="2023-06-01T06:31:23.712" v="0"/>
          <ac:spMkLst>
            <pc:docMk/>
            <pc:sldMk cId="613818322" sldId="1950"/>
            <ac:spMk id="13" creationId="{3FC490B1-582C-7BA8-557B-FB8F5D334B4E}"/>
          </ac:spMkLst>
        </pc:spChg>
        <pc:spChg chg="add mod">
          <ac:chgData name="Reardon, Shaun" userId="8e65eb91-fa40-481f-a3ca-c67e828d6a0e" providerId="ADAL" clId="{29AA7C77-24FB-48CA-92C0-752C4BFAD243}" dt="2023-06-01T06:31:23.712" v="0"/>
          <ac:spMkLst>
            <pc:docMk/>
            <pc:sldMk cId="613818322" sldId="1950"/>
            <ac:spMk id="18" creationId="{005FA8EE-3D8F-5DE0-AEBF-D111081A5F76}"/>
          </ac:spMkLst>
        </pc:spChg>
        <pc:spChg chg="add mod">
          <ac:chgData name="Reardon, Shaun" userId="8e65eb91-fa40-481f-a3ca-c67e828d6a0e" providerId="ADAL" clId="{29AA7C77-24FB-48CA-92C0-752C4BFAD243}" dt="2023-06-01T06:31:23.712" v="0"/>
          <ac:spMkLst>
            <pc:docMk/>
            <pc:sldMk cId="613818322" sldId="1950"/>
            <ac:spMk id="19" creationId="{5C6E5331-AC37-1FC8-C767-9B80A05039BD}"/>
          </ac:spMkLst>
        </pc:spChg>
        <pc:spChg chg="del">
          <ac:chgData name="Reardon, Shaun" userId="8e65eb91-fa40-481f-a3ca-c67e828d6a0e" providerId="ADAL" clId="{29AA7C77-24FB-48CA-92C0-752C4BFAD243}" dt="2023-06-01T06:31:23.712" v="0"/>
          <ac:spMkLst>
            <pc:docMk/>
            <pc:sldMk cId="613818322" sldId="1950"/>
            <ac:spMk id="25" creationId="{4854E223-9789-45EF-BCCC-40C570BB8CC2}"/>
          </ac:spMkLst>
        </pc:spChg>
        <pc:spChg chg="del">
          <ac:chgData name="Reardon, Shaun" userId="8e65eb91-fa40-481f-a3ca-c67e828d6a0e" providerId="ADAL" clId="{29AA7C77-24FB-48CA-92C0-752C4BFAD243}" dt="2023-06-01T06:31:23.712" v="0"/>
          <ac:spMkLst>
            <pc:docMk/>
            <pc:sldMk cId="613818322" sldId="1950"/>
            <ac:spMk id="26" creationId="{D0BC6D8D-0EDB-4E46-8F31-8826EEDD6FFE}"/>
          </ac:spMkLst>
        </pc:spChg>
        <pc:spChg chg="mod">
          <ac:chgData name="Reardon, Shaun" userId="8e65eb91-fa40-481f-a3ca-c67e828d6a0e" providerId="ADAL" clId="{29AA7C77-24FB-48CA-92C0-752C4BFAD243}" dt="2023-06-01T06:31:23.712" v="0"/>
          <ac:spMkLst>
            <pc:docMk/>
            <pc:sldMk cId="613818322" sldId="1950"/>
            <ac:spMk id="2049" creationId="{DA94E085-8D5A-45AB-9A22-AE1A670A5F7E}"/>
          </ac:spMkLst>
        </pc:spChg>
        <pc:spChg chg="mod">
          <ac:chgData name="Reardon, Shaun" userId="8e65eb91-fa40-481f-a3ca-c67e828d6a0e" providerId="ADAL" clId="{29AA7C77-24FB-48CA-92C0-752C4BFAD243}" dt="2023-06-01T06:31:23.712" v="0"/>
          <ac:spMkLst>
            <pc:docMk/>
            <pc:sldMk cId="613818322" sldId="1950"/>
            <ac:spMk id="2050" creationId="{0585F31D-CC0D-48FB-8018-2E2910A75186}"/>
          </ac:spMkLst>
        </pc:spChg>
        <pc:spChg chg="mod">
          <ac:chgData name="Reardon, Shaun" userId="8e65eb91-fa40-481f-a3ca-c67e828d6a0e" providerId="ADAL" clId="{29AA7C77-24FB-48CA-92C0-752C4BFAD243}" dt="2023-06-01T06:31:23.712" v="0"/>
          <ac:spMkLst>
            <pc:docMk/>
            <pc:sldMk cId="613818322" sldId="1950"/>
            <ac:spMk id="2051" creationId="{B3DC1C77-3FF8-47AA-A1C5-91F8F67DC1CB}"/>
          </ac:spMkLst>
        </pc:spChg>
      </pc:sldChg>
    </pc:docChg>
  </pc:docChgLst>
</pc:chgInfo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1-07-05T13:23:50.934" idx="1">
    <p:pos x="10" y="10"/>
    <p:text>Please change green text to sky blue</p:text>
    <p:extLst>
      <p:ext uri="{C676402C-5697-4E1C-873F-D02D1690AC5C}">
        <p15:threadingInfo xmlns:p15="http://schemas.microsoft.com/office/powerpoint/2012/main" timeZoneBias="-120"/>
      </p:ext>
    </p:extLst>
  </p:cm>
</p:cmLst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2" Type="http://schemas.openxmlformats.org/officeDocument/2006/relationships/image" Target="../media/image35.png"/><Relationship Id="rId1" Type="http://schemas.openxmlformats.org/officeDocument/2006/relationships/image" Target="../media/image34.png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png"/><Relationship Id="rId10" Type="http://schemas.openxmlformats.org/officeDocument/2006/relationships/image" Target="../media/image43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7.png"/><Relationship Id="rId7" Type="http://schemas.openxmlformats.org/officeDocument/2006/relationships/image" Target="../media/image45.png"/><Relationship Id="rId12" Type="http://schemas.openxmlformats.org/officeDocument/2006/relationships/image" Target="../media/image43.png"/><Relationship Id="rId2" Type="http://schemas.openxmlformats.org/officeDocument/2006/relationships/image" Target="../media/image36.png"/><Relationship Id="rId1" Type="http://schemas.openxmlformats.org/officeDocument/2006/relationships/image" Target="../media/image41.png"/><Relationship Id="rId6" Type="http://schemas.openxmlformats.org/officeDocument/2006/relationships/image" Target="../media/image39.png"/><Relationship Id="rId11" Type="http://schemas.openxmlformats.org/officeDocument/2006/relationships/image" Target="../media/image42.png"/><Relationship Id="rId5" Type="http://schemas.openxmlformats.org/officeDocument/2006/relationships/image" Target="../media/image34.png"/><Relationship Id="rId10" Type="http://schemas.openxmlformats.org/officeDocument/2006/relationships/image" Target="../media/image40.png"/><Relationship Id="rId4" Type="http://schemas.openxmlformats.org/officeDocument/2006/relationships/image" Target="../media/image38.png"/><Relationship Id="rId9" Type="http://schemas.openxmlformats.org/officeDocument/2006/relationships/image" Target="../media/image3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FD3E240-F3B1-43C3-9FEC-699C1655BBEC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04088AC2-A30D-4AE8-A1EF-ECB133ADD667}">
      <dgm:prSet/>
      <dgm:spPr/>
      <dgm:t>
        <a:bodyPr/>
        <a:lstStyle/>
        <a:p>
          <a:r>
            <a:rPr lang="en-GB" b="0"/>
            <a:t>With DNV cybersecurity since August 2020</a:t>
          </a:r>
          <a:endParaRPr lang="nb-NO"/>
        </a:p>
      </dgm:t>
    </dgm:pt>
    <dgm:pt modelId="{A60C7196-3F73-4F7C-A706-83F07274BEE7}" type="parTrans" cxnId="{A079DCC5-9154-4A23-9D13-540F21DAB77A}">
      <dgm:prSet/>
      <dgm:spPr/>
      <dgm:t>
        <a:bodyPr/>
        <a:lstStyle/>
        <a:p>
          <a:endParaRPr lang="en-GB"/>
        </a:p>
      </dgm:t>
    </dgm:pt>
    <dgm:pt modelId="{5ED82165-5C4D-4F72-8ED7-81CAA4949C13}" type="sibTrans" cxnId="{A079DCC5-9154-4A23-9D13-540F21DAB77A}">
      <dgm:prSet/>
      <dgm:spPr/>
      <dgm:t>
        <a:bodyPr/>
        <a:lstStyle/>
        <a:p>
          <a:endParaRPr lang="en-GB"/>
        </a:p>
      </dgm:t>
    </dgm:pt>
    <dgm:pt modelId="{B43773A6-C0C8-412D-87A2-0008C7795567}">
      <dgm:prSet/>
      <dgm:spPr/>
      <dgm:t>
        <a:bodyPr/>
        <a:lstStyle/>
        <a:p>
          <a:r>
            <a:rPr lang="en-GB"/>
            <a:t>Head of Section – Industrial Systems Cyber Security</a:t>
          </a:r>
          <a:endParaRPr lang="nb-NO"/>
        </a:p>
      </dgm:t>
    </dgm:pt>
    <dgm:pt modelId="{F22ABAA2-5B17-4067-A5A5-E5199E5A4D27}" type="parTrans" cxnId="{23FEA02A-253E-4CA7-835A-F08FFB35B9DF}">
      <dgm:prSet/>
      <dgm:spPr/>
      <dgm:t>
        <a:bodyPr/>
        <a:lstStyle/>
        <a:p>
          <a:endParaRPr lang="en-GB"/>
        </a:p>
      </dgm:t>
    </dgm:pt>
    <dgm:pt modelId="{D35A288D-2A27-4E9B-87E3-4360CBDA54B7}" type="sibTrans" cxnId="{23FEA02A-253E-4CA7-835A-F08FFB35B9DF}">
      <dgm:prSet/>
      <dgm:spPr/>
      <dgm:t>
        <a:bodyPr/>
        <a:lstStyle/>
        <a:p>
          <a:endParaRPr lang="en-GB"/>
        </a:p>
      </dgm:t>
    </dgm:pt>
    <dgm:pt modelId="{8BC18904-2F2E-43A1-B3AE-F84D2E8C969A}">
      <dgm:prSet/>
      <dgm:spPr/>
      <dgm:t>
        <a:bodyPr/>
        <a:lstStyle/>
        <a:p>
          <a:r>
            <a:rPr lang="en-GB"/>
            <a:t>CISSP | GICSP | CCSK | CSTP | CBCI | Lead Auditor ISO 27001</a:t>
          </a:r>
          <a:br>
            <a:rPr lang="en-GB"/>
          </a:br>
          <a:endParaRPr lang="nb-NO"/>
        </a:p>
      </dgm:t>
    </dgm:pt>
    <dgm:pt modelId="{62264A72-91E1-49A1-A07E-CC5EECEA6C8C}" type="parTrans" cxnId="{9C4FD92F-D407-44BA-BB8C-35FA1DE4FF77}">
      <dgm:prSet/>
      <dgm:spPr/>
      <dgm:t>
        <a:bodyPr/>
        <a:lstStyle/>
        <a:p>
          <a:endParaRPr lang="en-GB"/>
        </a:p>
      </dgm:t>
    </dgm:pt>
    <dgm:pt modelId="{384A93D3-16D5-497D-A385-E9F1A7D176EA}" type="sibTrans" cxnId="{9C4FD92F-D407-44BA-BB8C-35FA1DE4FF77}">
      <dgm:prSet/>
      <dgm:spPr/>
      <dgm:t>
        <a:bodyPr/>
        <a:lstStyle/>
        <a:p>
          <a:endParaRPr lang="en-GB"/>
        </a:p>
      </dgm:t>
    </dgm:pt>
    <dgm:pt modelId="{9F7A68C1-E662-4DA0-94DC-4DE3E2BCB419}">
      <dgm:prSet/>
      <dgm:spPr/>
      <dgm:t>
        <a:bodyPr/>
        <a:lstStyle/>
        <a:p>
          <a:r>
            <a:rPr lang="en-GB" b="0"/>
            <a:t>Former detective at Scotland Yard, London UK for 26 years </a:t>
          </a:r>
          <a:endParaRPr lang="nb-NO"/>
        </a:p>
      </dgm:t>
    </dgm:pt>
    <dgm:pt modelId="{C9B445B7-FCD1-4746-BF7D-0998728E0481}" type="parTrans" cxnId="{9B8B9295-8886-4AB5-BF9D-0BDF31DAB3C2}">
      <dgm:prSet/>
      <dgm:spPr/>
      <dgm:t>
        <a:bodyPr/>
        <a:lstStyle/>
        <a:p>
          <a:endParaRPr lang="en-GB"/>
        </a:p>
      </dgm:t>
    </dgm:pt>
    <dgm:pt modelId="{BE2AE080-A4D2-4731-ABEC-75CB359983CC}" type="sibTrans" cxnId="{9B8B9295-8886-4AB5-BF9D-0BDF31DAB3C2}">
      <dgm:prSet/>
      <dgm:spPr/>
      <dgm:t>
        <a:bodyPr/>
        <a:lstStyle/>
        <a:p>
          <a:endParaRPr lang="en-GB"/>
        </a:p>
      </dgm:t>
    </dgm:pt>
    <dgm:pt modelId="{869FE5D1-8563-419A-A9D2-438AE38301C8}">
      <dgm:prSet/>
      <dgm:spPr/>
      <dgm:t>
        <a:bodyPr/>
        <a:lstStyle/>
        <a:p>
          <a:pPr>
            <a:buFontTx/>
            <a:buNone/>
          </a:pPr>
          <a:r>
            <a:rPr lang="en-GB" dirty="0"/>
            <a:t>  Counter-terrorism, Witness protection, National Hi-Tech Crime Unit, International Organised Crime, Kidnap &amp; Human Trafficking, Intelligence, Economic crime.</a:t>
          </a:r>
          <a:endParaRPr lang="nb-NO" dirty="0"/>
        </a:p>
      </dgm:t>
    </dgm:pt>
    <dgm:pt modelId="{5AB44341-8000-4367-9B7C-A2ABB2B0696C}" type="parTrans" cxnId="{AD6EC682-DC22-4757-9693-725433F91D24}">
      <dgm:prSet/>
      <dgm:spPr/>
      <dgm:t>
        <a:bodyPr/>
        <a:lstStyle/>
        <a:p>
          <a:endParaRPr lang="en-GB"/>
        </a:p>
      </dgm:t>
    </dgm:pt>
    <dgm:pt modelId="{BA6886B8-34D2-433A-97C6-7A94FA77B7A6}" type="sibTrans" cxnId="{AD6EC682-DC22-4757-9693-725433F91D24}">
      <dgm:prSet/>
      <dgm:spPr/>
      <dgm:t>
        <a:bodyPr/>
        <a:lstStyle/>
        <a:p>
          <a:endParaRPr lang="en-GB"/>
        </a:p>
      </dgm:t>
    </dgm:pt>
    <dgm:pt modelId="{E92BFC30-6ADC-4AE1-97E9-D3804DD28423}">
      <dgm:prSet/>
      <dgm:spPr/>
      <dgm:t>
        <a:bodyPr/>
        <a:lstStyle/>
        <a:p>
          <a:r>
            <a:rPr lang="en-GB" b="0" dirty="0"/>
            <a:t>Specialising in</a:t>
          </a:r>
          <a:endParaRPr lang="nb-NO" dirty="0"/>
        </a:p>
      </dgm:t>
    </dgm:pt>
    <dgm:pt modelId="{A1D8C469-B411-4E9C-A8FF-FC899EE678EF}" type="parTrans" cxnId="{54E0E5E3-2049-4006-9D17-7A10C4A99F9E}">
      <dgm:prSet/>
      <dgm:spPr/>
      <dgm:t>
        <a:bodyPr/>
        <a:lstStyle/>
        <a:p>
          <a:endParaRPr lang="en-GB"/>
        </a:p>
      </dgm:t>
    </dgm:pt>
    <dgm:pt modelId="{3E96D344-3EA8-4A42-B560-4A1FF7FEFBE2}" type="sibTrans" cxnId="{54E0E5E3-2049-4006-9D17-7A10C4A99F9E}">
      <dgm:prSet/>
      <dgm:spPr/>
      <dgm:t>
        <a:bodyPr/>
        <a:lstStyle/>
        <a:p>
          <a:endParaRPr lang="en-GB"/>
        </a:p>
      </dgm:t>
    </dgm:pt>
    <dgm:pt modelId="{14914812-3D15-49A2-903B-73B2E3AE3B1D}">
      <dgm:prSet/>
      <dgm:spPr/>
      <dgm:t>
        <a:bodyPr/>
        <a:lstStyle/>
        <a:p>
          <a:endParaRPr lang="nb-NO" dirty="0"/>
        </a:p>
      </dgm:t>
    </dgm:pt>
    <dgm:pt modelId="{68555992-520E-4686-88A1-7D84C3868722}" type="parTrans" cxnId="{4D9EF163-119D-4003-9717-BE9900F37BD7}">
      <dgm:prSet/>
      <dgm:spPr/>
      <dgm:t>
        <a:bodyPr/>
        <a:lstStyle/>
        <a:p>
          <a:endParaRPr lang="en-GB"/>
        </a:p>
      </dgm:t>
    </dgm:pt>
    <dgm:pt modelId="{E0D66F30-99BF-4C06-9D6C-362D6525BDA3}" type="sibTrans" cxnId="{4D9EF163-119D-4003-9717-BE9900F37BD7}">
      <dgm:prSet/>
      <dgm:spPr/>
      <dgm:t>
        <a:bodyPr/>
        <a:lstStyle/>
        <a:p>
          <a:endParaRPr lang="en-GB"/>
        </a:p>
      </dgm:t>
    </dgm:pt>
    <dgm:pt modelId="{3425A5E1-5F0B-43BF-8B60-EE6F44EA0E39}">
      <dgm:prSet/>
      <dgm:spPr/>
      <dgm:t>
        <a:bodyPr/>
        <a:lstStyle/>
        <a:p>
          <a:r>
            <a:rPr lang="en-GB"/>
            <a:t>IT, cyber and digital forensics</a:t>
          </a:r>
          <a:endParaRPr lang="nb-NO" dirty="0"/>
        </a:p>
      </dgm:t>
    </dgm:pt>
    <dgm:pt modelId="{DB79760A-935B-482B-8E6C-123052884F96}" type="parTrans" cxnId="{E927FDAB-DC39-4563-A630-45061ED27419}">
      <dgm:prSet/>
      <dgm:spPr/>
      <dgm:t>
        <a:bodyPr/>
        <a:lstStyle/>
        <a:p>
          <a:endParaRPr lang="en-GB"/>
        </a:p>
      </dgm:t>
    </dgm:pt>
    <dgm:pt modelId="{DD152C86-2400-4367-A7AB-913BC8449664}" type="sibTrans" cxnId="{E927FDAB-DC39-4563-A630-45061ED27419}">
      <dgm:prSet/>
      <dgm:spPr/>
      <dgm:t>
        <a:bodyPr/>
        <a:lstStyle/>
        <a:p>
          <a:endParaRPr lang="en-GB"/>
        </a:p>
      </dgm:t>
    </dgm:pt>
    <dgm:pt modelId="{44C35CFF-0215-4B65-8714-C8C351845A94}">
      <dgm:prSet/>
      <dgm:spPr/>
      <dgm:t>
        <a:bodyPr/>
        <a:lstStyle/>
        <a:p>
          <a:r>
            <a:rPr lang="en-GB" dirty="0"/>
            <a:t>Criminal Intelligence</a:t>
          </a:r>
          <a:endParaRPr lang="nb-NO" dirty="0"/>
        </a:p>
      </dgm:t>
    </dgm:pt>
    <dgm:pt modelId="{C838FDB7-6BE8-462E-A380-8BE230CE99DA}" type="parTrans" cxnId="{DEF45999-FF46-40B1-AFC3-758FFF7E8A0D}">
      <dgm:prSet/>
      <dgm:spPr/>
      <dgm:t>
        <a:bodyPr/>
        <a:lstStyle/>
        <a:p>
          <a:endParaRPr lang="en-GB"/>
        </a:p>
      </dgm:t>
    </dgm:pt>
    <dgm:pt modelId="{6CFBE4E3-1F7D-4BCF-84E8-44410CC8248F}" type="sibTrans" cxnId="{DEF45999-FF46-40B1-AFC3-758FFF7E8A0D}">
      <dgm:prSet/>
      <dgm:spPr/>
      <dgm:t>
        <a:bodyPr/>
        <a:lstStyle/>
        <a:p>
          <a:endParaRPr lang="en-GB"/>
        </a:p>
      </dgm:t>
    </dgm:pt>
    <dgm:pt modelId="{52D21E44-23F0-4184-A43F-1823E5E83810}">
      <dgm:prSet/>
      <dgm:spPr/>
      <dgm:t>
        <a:bodyPr/>
        <a:lstStyle/>
        <a:p>
          <a:r>
            <a:rPr lang="en-GB" dirty="0"/>
            <a:t>Financial investigation &amp; money laundering</a:t>
          </a:r>
          <a:endParaRPr lang="nb-NO" dirty="0"/>
        </a:p>
      </dgm:t>
    </dgm:pt>
    <dgm:pt modelId="{5ECFC110-23E2-4AB7-9C42-46DAA32F4A90}" type="parTrans" cxnId="{087D222B-B7D6-4D9F-B74E-B1E045D013AF}">
      <dgm:prSet/>
      <dgm:spPr/>
      <dgm:t>
        <a:bodyPr/>
        <a:lstStyle/>
        <a:p>
          <a:endParaRPr lang="en-GB"/>
        </a:p>
      </dgm:t>
    </dgm:pt>
    <dgm:pt modelId="{30910515-4BA4-4DED-9F5D-22FA0C95E8A0}" type="sibTrans" cxnId="{087D222B-B7D6-4D9F-B74E-B1E045D013AF}">
      <dgm:prSet/>
      <dgm:spPr/>
      <dgm:t>
        <a:bodyPr/>
        <a:lstStyle/>
        <a:p>
          <a:endParaRPr lang="en-GB"/>
        </a:p>
      </dgm:t>
    </dgm:pt>
    <dgm:pt modelId="{EC7D1BD0-573D-4BA0-B6B9-9670C4D1CB6C}">
      <dgm:prSet/>
      <dgm:spPr/>
      <dgm:t>
        <a:bodyPr/>
        <a:lstStyle/>
        <a:p>
          <a:pPr>
            <a:buFontTx/>
            <a:buNone/>
          </a:pPr>
          <a:r>
            <a:rPr lang="en-GB" dirty="0"/>
            <a:t>  40 countries globally</a:t>
          </a:r>
          <a:endParaRPr lang="nb-NO" dirty="0"/>
        </a:p>
      </dgm:t>
    </dgm:pt>
    <dgm:pt modelId="{C4BC3CAF-F404-4856-B3A5-7D9E3798C0F5}" type="parTrans" cxnId="{17A32151-2E0C-4CDF-BDB3-6279E9DCDD19}">
      <dgm:prSet/>
      <dgm:spPr/>
      <dgm:t>
        <a:bodyPr/>
        <a:lstStyle/>
        <a:p>
          <a:endParaRPr lang="en-GB"/>
        </a:p>
      </dgm:t>
    </dgm:pt>
    <dgm:pt modelId="{73D02CB5-1299-4578-A927-7B6F242E8F1C}" type="sibTrans" cxnId="{17A32151-2E0C-4CDF-BDB3-6279E9DCDD19}">
      <dgm:prSet/>
      <dgm:spPr/>
      <dgm:t>
        <a:bodyPr/>
        <a:lstStyle/>
        <a:p>
          <a:endParaRPr lang="en-GB"/>
        </a:p>
      </dgm:t>
    </dgm:pt>
    <dgm:pt modelId="{E048B0C1-DCC4-4719-A01C-A08F25774E64}" type="pres">
      <dgm:prSet presAssocID="{AFD3E240-F3B1-43C3-9FEC-699C1655BBEC}" presName="Name0" presStyleCnt="0">
        <dgm:presLayoutVars>
          <dgm:dir/>
          <dgm:animLvl val="lvl"/>
          <dgm:resizeHandles val="exact"/>
        </dgm:presLayoutVars>
      </dgm:prSet>
      <dgm:spPr/>
    </dgm:pt>
    <dgm:pt modelId="{A058D40A-EE18-424F-B9A8-14B7DCB8024D}" type="pres">
      <dgm:prSet presAssocID="{04088AC2-A30D-4AE8-A1EF-ECB133ADD667}" presName="linNode" presStyleCnt="0"/>
      <dgm:spPr/>
    </dgm:pt>
    <dgm:pt modelId="{B0CDC2F3-9955-4AAF-BF58-B6E9D5888C94}" type="pres">
      <dgm:prSet presAssocID="{04088AC2-A30D-4AE8-A1EF-ECB133ADD667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AE6EBFC6-0586-438D-B979-8F54485D15B4}" type="pres">
      <dgm:prSet presAssocID="{04088AC2-A30D-4AE8-A1EF-ECB133ADD667}" presName="descendantText" presStyleLbl="alignAccFollowNode1" presStyleIdx="0" presStyleCnt="3">
        <dgm:presLayoutVars>
          <dgm:bulletEnabled val="1"/>
        </dgm:presLayoutVars>
      </dgm:prSet>
      <dgm:spPr/>
    </dgm:pt>
    <dgm:pt modelId="{7D8A4BBE-8C4D-42B9-9BB5-033027B66140}" type="pres">
      <dgm:prSet presAssocID="{5ED82165-5C4D-4F72-8ED7-81CAA4949C13}" presName="sp" presStyleCnt="0"/>
      <dgm:spPr/>
    </dgm:pt>
    <dgm:pt modelId="{568B8F0A-54A6-4864-BD4A-90C985B9A829}" type="pres">
      <dgm:prSet presAssocID="{9F7A68C1-E662-4DA0-94DC-4DE3E2BCB419}" presName="linNode" presStyleCnt="0"/>
      <dgm:spPr/>
    </dgm:pt>
    <dgm:pt modelId="{D74B4057-132C-4117-B697-A23DD380F28E}" type="pres">
      <dgm:prSet presAssocID="{9F7A68C1-E662-4DA0-94DC-4DE3E2BCB419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73135329-8E40-452A-BB4F-63CCE7620132}" type="pres">
      <dgm:prSet presAssocID="{9F7A68C1-E662-4DA0-94DC-4DE3E2BCB419}" presName="descendantText" presStyleLbl="alignAccFollowNode1" presStyleIdx="1" presStyleCnt="3">
        <dgm:presLayoutVars>
          <dgm:bulletEnabled val="1"/>
        </dgm:presLayoutVars>
      </dgm:prSet>
      <dgm:spPr/>
    </dgm:pt>
    <dgm:pt modelId="{15354CEB-EEB9-49EF-887B-19D73615A1DB}" type="pres">
      <dgm:prSet presAssocID="{BE2AE080-A4D2-4731-ABEC-75CB359983CC}" presName="sp" presStyleCnt="0"/>
      <dgm:spPr/>
    </dgm:pt>
    <dgm:pt modelId="{3626EBC2-CF88-4A56-8F00-B65C13670259}" type="pres">
      <dgm:prSet presAssocID="{E92BFC30-6ADC-4AE1-97E9-D3804DD28423}" presName="linNode" presStyleCnt="0"/>
      <dgm:spPr/>
    </dgm:pt>
    <dgm:pt modelId="{5C34D435-8385-43B4-B9AA-E262BACA1A6D}" type="pres">
      <dgm:prSet presAssocID="{E92BFC30-6ADC-4AE1-97E9-D3804DD28423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353C561A-2388-4C62-B2E0-1030C0490F73}" type="pres">
      <dgm:prSet presAssocID="{E92BFC30-6ADC-4AE1-97E9-D3804DD28423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BD132903-7453-4066-9D25-584BB9CBC047}" type="presOf" srcId="{44C35CFF-0215-4B65-8714-C8C351845A94}" destId="{353C561A-2388-4C62-B2E0-1030C0490F73}" srcOrd="0" destOrd="2" presId="urn:microsoft.com/office/officeart/2005/8/layout/vList5"/>
    <dgm:cxn modelId="{C7F5FD06-786A-4244-8BD0-258B01F3B664}" type="presOf" srcId="{14914812-3D15-49A2-903B-73B2E3AE3B1D}" destId="{353C561A-2388-4C62-B2E0-1030C0490F73}" srcOrd="0" destOrd="0" presId="urn:microsoft.com/office/officeart/2005/8/layout/vList5"/>
    <dgm:cxn modelId="{E7391016-989F-4B9C-AFC7-3B052C31ED9E}" type="presOf" srcId="{B43773A6-C0C8-412D-87A2-0008C7795567}" destId="{AE6EBFC6-0586-438D-B979-8F54485D15B4}" srcOrd="0" destOrd="0" presId="urn:microsoft.com/office/officeart/2005/8/layout/vList5"/>
    <dgm:cxn modelId="{5DFB8E20-03E7-45B3-ACFE-D7AB2B38A766}" type="presOf" srcId="{04088AC2-A30D-4AE8-A1EF-ECB133ADD667}" destId="{B0CDC2F3-9955-4AAF-BF58-B6E9D5888C94}" srcOrd="0" destOrd="0" presId="urn:microsoft.com/office/officeart/2005/8/layout/vList5"/>
    <dgm:cxn modelId="{3B072C2A-0CB7-443B-B48D-0B0B91EF1DBA}" type="presOf" srcId="{3425A5E1-5F0B-43BF-8B60-EE6F44EA0E39}" destId="{353C561A-2388-4C62-B2E0-1030C0490F73}" srcOrd="0" destOrd="1" presId="urn:microsoft.com/office/officeart/2005/8/layout/vList5"/>
    <dgm:cxn modelId="{23FEA02A-253E-4CA7-835A-F08FFB35B9DF}" srcId="{04088AC2-A30D-4AE8-A1EF-ECB133ADD667}" destId="{B43773A6-C0C8-412D-87A2-0008C7795567}" srcOrd="0" destOrd="0" parTransId="{F22ABAA2-5B17-4067-A5A5-E5199E5A4D27}" sibTransId="{D35A288D-2A27-4E9B-87E3-4360CBDA54B7}"/>
    <dgm:cxn modelId="{087D222B-B7D6-4D9F-B74E-B1E045D013AF}" srcId="{E92BFC30-6ADC-4AE1-97E9-D3804DD28423}" destId="{52D21E44-23F0-4184-A43F-1823E5E83810}" srcOrd="3" destOrd="0" parTransId="{5ECFC110-23E2-4AB7-9C42-46DAA32F4A90}" sibTransId="{30910515-4BA4-4DED-9F5D-22FA0C95E8A0}"/>
    <dgm:cxn modelId="{9C4FD92F-D407-44BA-BB8C-35FA1DE4FF77}" srcId="{04088AC2-A30D-4AE8-A1EF-ECB133ADD667}" destId="{8BC18904-2F2E-43A1-B3AE-F84D2E8C969A}" srcOrd="1" destOrd="0" parTransId="{62264A72-91E1-49A1-A07E-CC5EECEA6C8C}" sibTransId="{384A93D3-16D5-497D-A385-E9F1A7D176EA}"/>
    <dgm:cxn modelId="{D813B540-6AD1-4E10-9C99-8E2AF031937C}" type="presOf" srcId="{9F7A68C1-E662-4DA0-94DC-4DE3E2BCB419}" destId="{D74B4057-132C-4117-B697-A23DD380F28E}" srcOrd="0" destOrd="0" presId="urn:microsoft.com/office/officeart/2005/8/layout/vList5"/>
    <dgm:cxn modelId="{449BBF40-9120-4D33-9E65-891FF3DE2BE2}" type="presOf" srcId="{AFD3E240-F3B1-43C3-9FEC-699C1655BBEC}" destId="{E048B0C1-DCC4-4719-A01C-A08F25774E64}" srcOrd="0" destOrd="0" presId="urn:microsoft.com/office/officeart/2005/8/layout/vList5"/>
    <dgm:cxn modelId="{4D9EF163-119D-4003-9717-BE9900F37BD7}" srcId="{E92BFC30-6ADC-4AE1-97E9-D3804DD28423}" destId="{14914812-3D15-49A2-903B-73B2E3AE3B1D}" srcOrd="0" destOrd="0" parTransId="{68555992-520E-4686-88A1-7D84C3868722}" sibTransId="{E0D66F30-99BF-4C06-9D6C-362D6525BDA3}"/>
    <dgm:cxn modelId="{FDA52C6F-292E-4F1E-90D4-C15297CA76F2}" type="presOf" srcId="{8BC18904-2F2E-43A1-B3AE-F84D2E8C969A}" destId="{AE6EBFC6-0586-438D-B979-8F54485D15B4}" srcOrd="0" destOrd="1" presId="urn:microsoft.com/office/officeart/2005/8/layout/vList5"/>
    <dgm:cxn modelId="{17A32151-2E0C-4CDF-BDB3-6279E9DCDD19}" srcId="{9F7A68C1-E662-4DA0-94DC-4DE3E2BCB419}" destId="{EC7D1BD0-573D-4BA0-B6B9-9670C4D1CB6C}" srcOrd="1" destOrd="0" parTransId="{C4BC3CAF-F404-4856-B3A5-7D9E3798C0F5}" sibTransId="{73D02CB5-1299-4578-A927-7B6F242E8F1C}"/>
    <dgm:cxn modelId="{AD6EC682-DC22-4757-9693-725433F91D24}" srcId="{9F7A68C1-E662-4DA0-94DC-4DE3E2BCB419}" destId="{869FE5D1-8563-419A-A9D2-438AE38301C8}" srcOrd="0" destOrd="0" parTransId="{5AB44341-8000-4367-9B7C-A2ABB2B0696C}" sibTransId="{BA6886B8-34D2-433A-97C6-7A94FA77B7A6}"/>
    <dgm:cxn modelId="{87F4E590-94C0-4F0D-AEB3-BCE7B2D55037}" type="presOf" srcId="{52D21E44-23F0-4184-A43F-1823E5E83810}" destId="{353C561A-2388-4C62-B2E0-1030C0490F73}" srcOrd="0" destOrd="3" presId="urn:microsoft.com/office/officeart/2005/8/layout/vList5"/>
    <dgm:cxn modelId="{9B8B9295-8886-4AB5-BF9D-0BDF31DAB3C2}" srcId="{AFD3E240-F3B1-43C3-9FEC-699C1655BBEC}" destId="{9F7A68C1-E662-4DA0-94DC-4DE3E2BCB419}" srcOrd="1" destOrd="0" parTransId="{C9B445B7-FCD1-4746-BF7D-0998728E0481}" sibTransId="{BE2AE080-A4D2-4731-ABEC-75CB359983CC}"/>
    <dgm:cxn modelId="{DEF45999-FF46-40B1-AFC3-758FFF7E8A0D}" srcId="{E92BFC30-6ADC-4AE1-97E9-D3804DD28423}" destId="{44C35CFF-0215-4B65-8714-C8C351845A94}" srcOrd="2" destOrd="0" parTransId="{C838FDB7-6BE8-462E-A380-8BE230CE99DA}" sibTransId="{6CFBE4E3-1F7D-4BCF-84E8-44410CC8248F}"/>
    <dgm:cxn modelId="{E927FDAB-DC39-4563-A630-45061ED27419}" srcId="{E92BFC30-6ADC-4AE1-97E9-D3804DD28423}" destId="{3425A5E1-5F0B-43BF-8B60-EE6F44EA0E39}" srcOrd="1" destOrd="0" parTransId="{DB79760A-935B-482B-8E6C-123052884F96}" sibTransId="{DD152C86-2400-4367-A7AB-913BC8449664}"/>
    <dgm:cxn modelId="{A079DCC5-9154-4A23-9D13-540F21DAB77A}" srcId="{AFD3E240-F3B1-43C3-9FEC-699C1655BBEC}" destId="{04088AC2-A30D-4AE8-A1EF-ECB133ADD667}" srcOrd="0" destOrd="0" parTransId="{A60C7196-3F73-4F7C-A706-83F07274BEE7}" sibTransId="{5ED82165-5C4D-4F72-8ED7-81CAA4949C13}"/>
    <dgm:cxn modelId="{33D389CC-48D8-4E1A-A3D6-9A15E5A2F30F}" type="presOf" srcId="{E92BFC30-6ADC-4AE1-97E9-D3804DD28423}" destId="{5C34D435-8385-43B4-B9AA-E262BACA1A6D}" srcOrd="0" destOrd="0" presId="urn:microsoft.com/office/officeart/2005/8/layout/vList5"/>
    <dgm:cxn modelId="{54E0E5E3-2049-4006-9D17-7A10C4A99F9E}" srcId="{AFD3E240-F3B1-43C3-9FEC-699C1655BBEC}" destId="{E92BFC30-6ADC-4AE1-97E9-D3804DD28423}" srcOrd="2" destOrd="0" parTransId="{A1D8C469-B411-4E9C-A8FF-FC899EE678EF}" sibTransId="{3E96D344-3EA8-4A42-B560-4A1FF7FEFBE2}"/>
    <dgm:cxn modelId="{D1213BF2-8EA5-4D1D-9FF2-F069CC2B340A}" type="presOf" srcId="{869FE5D1-8563-419A-A9D2-438AE38301C8}" destId="{73135329-8E40-452A-BB4F-63CCE7620132}" srcOrd="0" destOrd="0" presId="urn:microsoft.com/office/officeart/2005/8/layout/vList5"/>
    <dgm:cxn modelId="{22A3E8F6-4738-4BA0-8471-C219DD26CEF7}" type="presOf" srcId="{EC7D1BD0-573D-4BA0-B6B9-9670C4D1CB6C}" destId="{73135329-8E40-452A-BB4F-63CCE7620132}" srcOrd="0" destOrd="1" presId="urn:microsoft.com/office/officeart/2005/8/layout/vList5"/>
    <dgm:cxn modelId="{14197105-5341-45C2-AD1F-5856F5E97C10}" type="presParOf" srcId="{E048B0C1-DCC4-4719-A01C-A08F25774E64}" destId="{A058D40A-EE18-424F-B9A8-14B7DCB8024D}" srcOrd="0" destOrd="0" presId="urn:microsoft.com/office/officeart/2005/8/layout/vList5"/>
    <dgm:cxn modelId="{F4E9D202-0712-45B9-9B76-249639B8CBA4}" type="presParOf" srcId="{A058D40A-EE18-424F-B9A8-14B7DCB8024D}" destId="{B0CDC2F3-9955-4AAF-BF58-B6E9D5888C94}" srcOrd="0" destOrd="0" presId="urn:microsoft.com/office/officeart/2005/8/layout/vList5"/>
    <dgm:cxn modelId="{2774BCBC-A1FB-41E0-9965-CBB4296669CB}" type="presParOf" srcId="{A058D40A-EE18-424F-B9A8-14B7DCB8024D}" destId="{AE6EBFC6-0586-438D-B979-8F54485D15B4}" srcOrd="1" destOrd="0" presId="urn:microsoft.com/office/officeart/2005/8/layout/vList5"/>
    <dgm:cxn modelId="{405B9C89-F07B-4B11-87CD-9E5CB6D8C66B}" type="presParOf" srcId="{E048B0C1-DCC4-4719-A01C-A08F25774E64}" destId="{7D8A4BBE-8C4D-42B9-9BB5-033027B66140}" srcOrd="1" destOrd="0" presId="urn:microsoft.com/office/officeart/2005/8/layout/vList5"/>
    <dgm:cxn modelId="{F4B66E02-74DF-4FBC-A656-F0228A0AA196}" type="presParOf" srcId="{E048B0C1-DCC4-4719-A01C-A08F25774E64}" destId="{568B8F0A-54A6-4864-BD4A-90C985B9A829}" srcOrd="2" destOrd="0" presId="urn:microsoft.com/office/officeart/2005/8/layout/vList5"/>
    <dgm:cxn modelId="{4678B0B7-87CE-42F1-BA5F-F1AA160780B5}" type="presParOf" srcId="{568B8F0A-54A6-4864-BD4A-90C985B9A829}" destId="{D74B4057-132C-4117-B697-A23DD380F28E}" srcOrd="0" destOrd="0" presId="urn:microsoft.com/office/officeart/2005/8/layout/vList5"/>
    <dgm:cxn modelId="{AEE3117C-3BD2-43B4-8268-E6AD2EC2A85D}" type="presParOf" srcId="{568B8F0A-54A6-4864-BD4A-90C985B9A829}" destId="{73135329-8E40-452A-BB4F-63CCE7620132}" srcOrd="1" destOrd="0" presId="urn:microsoft.com/office/officeart/2005/8/layout/vList5"/>
    <dgm:cxn modelId="{E6068F54-E0E2-4630-8D2B-6FD237EE0094}" type="presParOf" srcId="{E048B0C1-DCC4-4719-A01C-A08F25774E64}" destId="{15354CEB-EEB9-49EF-887B-19D73615A1DB}" srcOrd="3" destOrd="0" presId="urn:microsoft.com/office/officeart/2005/8/layout/vList5"/>
    <dgm:cxn modelId="{5B05AE50-B48A-4918-A4A7-9B0CB849491C}" type="presParOf" srcId="{E048B0C1-DCC4-4719-A01C-A08F25774E64}" destId="{3626EBC2-CF88-4A56-8F00-B65C13670259}" srcOrd="4" destOrd="0" presId="urn:microsoft.com/office/officeart/2005/8/layout/vList5"/>
    <dgm:cxn modelId="{2D272FE6-683D-4412-9B1D-0B954CF5E6C5}" type="presParOf" srcId="{3626EBC2-CF88-4A56-8F00-B65C13670259}" destId="{5C34D435-8385-43B4-B9AA-E262BACA1A6D}" srcOrd="0" destOrd="0" presId="urn:microsoft.com/office/officeart/2005/8/layout/vList5"/>
    <dgm:cxn modelId="{DD68114A-FD6F-4CDE-B309-33797FD0FCB6}" type="presParOf" srcId="{3626EBC2-CF88-4A56-8F00-B65C13670259}" destId="{353C561A-2388-4C62-B2E0-1030C0490F73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E5E5264-5761-4251-8150-D207B493791B}" type="doc">
      <dgm:prSet loTypeId="urn:microsoft.com/office/officeart/2008/layout/HexagonCluster" loCatId="picture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CCB8EAD0-B602-4E33-8000-6821652525FB}">
      <dgm:prSet phldrT="[Text]" custT="1"/>
      <dgm:spPr/>
      <dgm:t>
        <a:bodyPr/>
        <a:lstStyle/>
        <a:p>
          <a:r>
            <a:rPr lang="en-US" sz="1000" dirty="0"/>
            <a:t>Pirate attack supported by cyber attack</a:t>
          </a:r>
        </a:p>
      </dgm:t>
    </dgm:pt>
    <dgm:pt modelId="{08404FE1-0E05-4F7E-98C0-240D1DDA0466}" type="parTrans" cxnId="{BA7EC4E0-7BB2-4E90-9BE3-2D543CF3FE79}">
      <dgm:prSet/>
      <dgm:spPr/>
      <dgm:t>
        <a:bodyPr/>
        <a:lstStyle/>
        <a:p>
          <a:endParaRPr lang="en-US" sz="1000"/>
        </a:p>
      </dgm:t>
    </dgm:pt>
    <dgm:pt modelId="{36AC8864-433C-4395-ABEE-0C9455A51D2D}" type="sibTrans" cxnId="{BA7EC4E0-7BB2-4E90-9BE3-2D543CF3FE79}">
      <dgm:prSet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US" sz="1000" dirty="0"/>
        </a:p>
      </dgm:t>
    </dgm:pt>
    <dgm:pt modelId="{81E82FC0-5104-4CE2-BD76-D7F64EB613EA}">
      <dgm:prSet phldrT="[Text]" custT="1"/>
      <dgm:spPr/>
      <dgm:t>
        <a:bodyPr/>
        <a:lstStyle/>
        <a:p>
          <a:r>
            <a:rPr lang="en-US" sz="1000" dirty="0"/>
            <a:t>Hackers took “full control” of navigation systems for 10 h</a:t>
          </a:r>
        </a:p>
      </dgm:t>
    </dgm:pt>
    <dgm:pt modelId="{27AEBE93-7C29-4A9B-8B81-648EB7225D19}" type="parTrans" cxnId="{4E21D474-6780-4ADC-8FA4-A1686A69DA54}">
      <dgm:prSet/>
      <dgm:spPr/>
      <dgm:t>
        <a:bodyPr/>
        <a:lstStyle/>
        <a:p>
          <a:endParaRPr lang="en-US" sz="1000"/>
        </a:p>
      </dgm:t>
    </dgm:pt>
    <dgm:pt modelId="{EE8206DB-BB74-40C7-8C2A-F8586DFC7ECC}" type="sibTrans" cxnId="{4E21D474-6780-4ADC-8FA4-A1686A69DA54}">
      <dgm:prSet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n-US" sz="1000" dirty="0"/>
        </a:p>
      </dgm:t>
    </dgm:pt>
    <dgm:pt modelId="{20078C10-6D97-4076-9691-4DAAFE300C5B}">
      <dgm:prSet custT="1"/>
      <dgm:spPr/>
      <dgm:t>
        <a:bodyPr/>
        <a:lstStyle/>
        <a:p>
          <a:r>
            <a:rPr lang="en-US" sz="1000" dirty="0"/>
            <a:t>VSAT hacking using common login</a:t>
          </a:r>
        </a:p>
      </dgm:t>
    </dgm:pt>
    <dgm:pt modelId="{78EBA545-51CD-438B-BB54-E6378A31E595}" type="parTrans" cxnId="{AE5EC323-4DA8-403B-AEB0-49108138D7D1}">
      <dgm:prSet/>
      <dgm:spPr/>
      <dgm:t>
        <a:bodyPr/>
        <a:lstStyle/>
        <a:p>
          <a:endParaRPr lang="en-US" sz="1000"/>
        </a:p>
      </dgm:t>
    </dgm:pt>
    <dgm:pt modelId="{FF92E338-3131-45B2-A7C6-6E2C6D23BA7F}" type="sibTrans" cxnId="{AE5EC323-4DA8-403B-AEB0-49108138D7D1}">
      <dgm:prSet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n-GB" sz="1000"/>
        </a:p>
      </dgm:t>
    </dgm:pt>
    <dgm:pt modelId="{AA0B2D6B-B69A-4E47-A478-93C48AEA6E62}">
      <dgm:prSet custT="1"/>
      <dgm:spPr/>
      <dgm:t>
        <a:bodyPr/>
        <a:lstStyle/>
        <a:p>
          <a:r>
            <a:rPr lang="en-US" sz="1000" dirty="0"/>
            <a:t>Loss of fuel control and ballast water valves due to ECDIS update</a:t>
          </a:r>
        </a:p>
      </dgm:t>
    </dgm:pt>
    <dgm:pt modelId="{30EB7719-17AD-4468-8EAE-378361AD735B}" type="parTrans" cxnId="{99DCDADC-E217-4403-8EF9-3B16B2396188}">
      <dgm:prSet/>
      <dgm:spPr/>
      <dgm:t>
        <a:bodyPr/>
        <a:lstStyle/>
        <a:p>
          <a:endParaRPr lang="en-US" sz="1000"/>
        </a:p>
      </dgm:t>
    </dgm:pt>
    <dgm:pt modelId="{092E2DB0-40A8-49EC-B2CD-CC63E1F89BA7}" type="sibTrans" cxnId="{99DCDADC-E217-4403-8EF9-3B16B2396188}">
      <dgm:prSet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en-GB" sz="1000"/>
        </a:p>
      </dgm:t>
    </dgm:pt>
    <dgm:pt modelId="{72459274-B1EA-40AF-9725-C72A0353EF8C}">
      <dgm:prSet phldrT="[Text]" custT="1"/>
      <dgm:spPr/>
      <dgm:t>
        <a:bodyPr/>
        <a:lstStyle/>
        <a:p>
          <a:r>
            <a:rPr lang="en-US" sz="1000" dirty="0"/>
            <a:t>PMS system shore and vessel attack </a:t>
          </a:r>
        </a:p>
      </dgm:t>
    </dgm:pt>
    <dgm:pt modelId="{1BC08EFD-325F-4D29-9107-2576AE126DE7}" type="parTrans" cxnId="{98C9C21A-4886-40F0-8209-80ADFDDB1A91}">
      <dgm:prSet/>
      <dgm:spPr/>
      <dgm:t>
        <a:bodyPr/>
        <a:lstStyle/>
        <a:p>
          <a:endParaRPr lang="en-US" sz="1000"/>
        </a:p>
      </dgm:t>
    </dgm:pt>
    <dgm:pt modelId="{2EF5DE7A-7733-42A0-8A85-82AD8EB81454}" type="sibTrans" cxnId="{98C9C21A-4886-40F0-8209-80ADFDDB1A91}">
      <dgm:prSet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  <dgm:t>
        <a:bodyPr/>
        <a:lstStyle/>
        <a:p>
          <a:endParaRPr lang="en-US" sz="1000"/>
        </a:p>
      </dgm:t>
    </dgm:pt>
    <dgm:pt modelId="{843A6B1E-7A71-4A98-978F-06D9C54952D2}">
      <dgm:prSet custT="1"/>
      <dgm:spPr/>
      <dgm:t>
        <a:bodyPr/>
        <a:lstStyle/>
        <a:p>
          <a:r>
            <a:rPr lang="en-US" sz="1000" dirty="0"/>
            <a:t>Loss of main switchboard due to ransomware </a:t>
          </a:r>
        </a:p>
      </dgm:t>
    </dgm:pt>
    <dgm:pt modelId="{D83C4B2A-53FC-4096-9BBF-41F686E86F63}" type="parTrans" cxnId="{1E93D7A9-D69F-4D9E-8617-D1B35BD28ADD}">
      <dgm:prSet/>
      <dgm:spPr/>
      <dgm:t>
        <a:bodyPr/>
        <a:lstStyle/>
        <a:p>
          <a:endParaRPr lang="en-US" sz="1000"/>
        </a:p>
      </dgm:t>
    </dgm:pt>
    <dgm:pt modelId="{DABDA94C-9CB4-4B90-AFBB-615F00CF70CA}" type="sibTrans" cxnId="{1E93D7A9-D69F-4D9E-8617-D1B35BD28ADD}">
      <dgm:prSet/>
      <dgm:spPr>
        <a:blipFill rotWithShape="1">
          <a:blip xmlns:r="http://schemas.openxmlformats.org/officeDocument/2006/relationships" r:embed="rId6"/>
          <a:stretch>
            <a:fillRect/>
          </a:stretch>
        </a:blipFill>
      </dgm:spPr>
      <dgm:t>
        <a:bodyPr/>
        <a:lstStyle/>
        <a:p>
          <a:endParaRPr lang="en-US" sz="1000"/>
        </a:p>
      </dgm:t>
    </dgm:pt>
    <dgm:pt modelId="{9DCF2354-5314-49E4-8BD5-ECECA3B8AACF}">
      <dgm:prSet custT="1"/>
      <dgm:spPr/>
      <dgm:t>
        <a:bodyPr/>
        <a:lstStyle/>
        <a:p>
          <a:r>
            <a:rPr lang="en-US" sz="1000" dirty="0"/>
            <a:t>ECIDS ransomware and chart spoofing</a:t>
          </a:r>
        </a:p>
      </dgm:t>
    </dgm:pt>
    <dgm:pt modelId="{8074FCFA-81BD-45D1-B466-47E541497687}" type="parTrans" cxnId="{7E5D609F-DBD6-4E5D-B8EF-5A1E9FBA5284}">
      <dgm:prSet/>
      <dgm:spPr/>
      <dgm:t>
        <a:bodyPr/>
        <a:lstStyle/>
        <a:p>
          <a:endParaRPr lang="en-US" sz="1000"/>
        </a:p>
      </dgm:t>
    </dgm:pt>
    <dgm:pt modelId="{33ADDC15-B75F-4F77-992D-139FB93D9975}" type="sibTrans" cxnId="{7E5D609F-DBD6-4E5D-B8EF-5A1E9FBA5284}">
      <dgm:prSet/>
      <dgm:spPr>
        <a:blipFill rotWithShape="1">
          <a:blip xmlns:r="http://schemas.openxmlformats.org/officeDocument/2006/relationships" r:embed="rId7"/>
          <a:stretch>
            <a:fillRect/>
          </a:stretch>
        </a:blipFill>
      </dgm:spPr>
      <dgm:t>
        <a:bodyPr/>
        <a:lstStyle/>
        <a:p>
          <a:endParaRPr lang="en-US" sz="1000"/>
        </a:p>
      </dgm:t>
    </dgm:pt>
    <dgm:pt modelId="{DA3501D0-3E5B-43F2-AC3F-6F1978E17208}">
      <dgm:prSet custT="1"/>
      <dgm:spPr/>
      <dgm:t>
        <a:bodyPr/>
        <a:lstStyle/>
        <a:p>
          <a:r>
            <a:rPr lang="en-US" sz="1000" dirty="0"/>
            <a:t>GPS jamming and spoofing</a:t>
          </a:r>
        </a:p>
      </dgm:t>
    </dgm:pt>
    <dgm:pt modelId="{AF43880C-5AD5-422A-AA48-B49F5BD87C06}" type="parTrans" cxnId="{1517EA66-49F6-4136-9CF3-51B9619BEC03}">
      <dgm:prSet/>
      <dgm:spPr/>
      <dgm:t>
        <a:bodyPr/>
        <a:lstStyle/>
        <a:p>
          <a:endParaRPr lang="en-US" sz="1000"/>
        </a:p>
      </dgm:t>
    </dgm:pt>
    <dgm:pt modelId="{8A789E7F-158E-486B-88F5-4D9CD5E3E3B8}" type="sibTrans" cxnId="{1517EA66-49F6-4136-9CF3-51B9619BEC03}">
      <dgm:prSet/>
      <dgm:spPr>
        <a:blipFill rotWithShape="1">
          <a:blip xmlns:r="http://schemas.openxmlformats.org/officeDocument/2006/relationships" r:embed="rId8"/>
          <a:stretch>
            <a:fillRect/>
          </a:stretch>
        </a:blipFill>
      </dgm:spPr>
      <dgm:t>
        <a:bodyPr/>
        <a:lstStyle/>
        <a:p>
          <a:endParaRPr lang="en-US" sz="1000"/>
        </a:p>
      </dgm:t>
    </dgm:pt>
    <dgm:pt modelId="{21FA824B-1CC8-4CEC-A926-03875C6BDEFE}">
      <dgm:prSet custT="1"/>
      <dgm:spPr/>
      <dgm:t>
        <a:bodyPr/>
        <a:lstStyle/>
        <a:p>
          <a:r>
            <a:rPr lang="en-US" sz="1000" dirty="0"/>
            <a:t>Malware allows full access to vessel systems</a:t>
          </a:r>
        </a:p>
      </dgm:t>
    </dgm:pt>
    <dgm:pt modelId="{9408619F-EBD4-4247-B178-514D6745F95B}" type="parTrans" cxnId="{229D9454-9B2C-4C0D-8661-37A2E4B90105}">
      <dgm:prSet/>
      <dgm:spPr/>
      <dgm:t>
        <a:bodyPr/>
        <a:lstStyle/>
        <a:p>
          <a:endParaRPr lang="en-US" sz="1000"/>
        </a:p>
      </dgm:t>
    </dgm:pt>
    <dgm:pt modelId="{07C7F930-DECA-4FA9-AC06-6B679763CD44}" type="sibTrans" cxnId="{229D9454-9B2C-4C0D-8661-37A2E4B90105}">
      <dgm:prSet/>
      <dgm:spPr>
        <a:blipFill rotWithShape="1">
          <a:blip xmlns:r="http://schemas.openxmlformats.org/officeDocument/2006/relationships" r:embed="rId9"/>
          <a:stretch>
            <a:fillRect/>
          </a:stretch>
        </a:blipFill>
      </dgm:spPr>
      <dgm:t>
        <a:bodyPr/>
        <a:lstStyle/>
        <a:p>
          <a:endParaRPr lang="en-US" sz="1000"/>
        </a:p>
      </dgm:t>
    </dgm:pt>
    <dgm:pt modelId="{1EA40924-5493-4157-9FD3-05B5A05015C4}">
      <dgm:prSet custT="1"/>
      <dgm:spPr/>
      <dgm:t>
        <a:bodyPr/>
        <a:lstStyle/>
        <a:p>
          <a:r>
            <a:rPr lang="en-US" sz="1000" dirty="0"/>
            <a:t>Hackers caused IMO’s website in 2020 to go down</a:t>
          </a:r>
        </a:p>
      </dgm:t>
    </dgm:pt>
    <dgm:pt modelId="{18E07A25-C065-47A9-A83C-095CEBE3EFD3}" type="parTrans" cxnId="{BB668E77-282A-418C-A245-41D1C72630E6}">
      <dgm:prSet/>
      <dgm:spPr/>
      <dgm:t>
        <a:bodyPr/>
        <a:lstStyle/>
        <a:p>
          <a:endParaRPr lang="en-US" sz="1000"/>
        </a:p>
      </dgm:t>
    </dgm:pt>
    <dgm:pt modelId="{DAEB9B42-748A-4F23-9C66-9C1F187675FD}" type="sibTrans" cxnId="{BB668E77-282A-418C-A245-41D1C72630E6}">
      <dgm:prSet/>
      <dgm:spPr>
        <a:blipFill rotWithShape="1">
          <a:blip xmlns:r="http://schemas.openxmlformats.org/officeDocument/2006/relationships"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en-US" sz="1000"/>
        </a:p>
      </dgm:t>
    </dgm:pt>
    <dgm:pt modelId="{3532AB6A-91A0-4A7F-8F9A-6E8B10F57ED8}">
      <dgm:prSet custT="1"/>
      <dgm:spPr/>
      <dgm:t>
        <a:bodyPr/>
        <a:lstStyle/>
        <a:p>
          <a:r>
            <a:rPr lang="en-GB" sz="1000" dirty="0"/>
            <a:t>Hacking of cargo tracking system for smuggling purposes</a:t>
          </a:r>
        </a:p>
      </dgm:t>
    </dgm:pt>
    <dgm:pt modelId="{21AB15CF-4875-4BD5-8ED8-9817CDD0801D}" type="parTrans" cxnId="{A96C9A3B-52B3-4B70-97BF-1418796EB0B8}">
      <dgm:prSet/>
      <dgm:spPr/>
      <dgm:t>
        <a:bodyPr/>
        <a:lstStyle/>
        <a:p>
          <a:endParaRPr lang="en-US" sz="1000"/>
        </a:p>
      </dgm:t>
    </dgm:pt>
    <dgm:pt modelId="{6CBD4D71-08F4-4D0F-9320-FF93446415BB}" type="sibTrans" cxnId="{A96C9A3B-52B3-4B70-97BF-1418796EB0B8}">
      <dgm:prSet/>
      <dgm:spPr>
        <a:blipFill rotWithShape="1">
          <a:blip xmlns:r="http://schemas.openxmlformats.org/officeDocument/2006/relationships" r:embed="rId11"/>
          <a:stretch>
            <a:fillRect/>
          </a:stretch>
        </a:blipFill>
      </dgm:spPr>
      <dgm:t>
        <a:bodyPr/>
        <a:lstStyle/>
        <a:p>
          <a:endParaRPr lang="en-US" sz="1000"/>
        </a:p>
      </dgm:t>
    </dgm:pt>
    <dgm:pt modelId="{276333FF-4B8B-4D3D-B39F-F92EB21905E0}">
      <dgm:prSet custT="1"/>
      <dgm:spPr/>
      <dgm:t>
        <a:bodyPr/>
        <a:lstStyle/>
        <a:p>
          <a:r>
            <a:rPr lang="en-US" sz="1000" dirty="0"/>
            <a:t>AIS spoofing</a:t>
          </a:r>
        </a:p>
      </dgm:t>
    </dgm:pt>
    <dgm:pt modelId="{A757C456-BD83-4757-8400-D9DFF4B65140}" type="parTrans" cxnId="{BD94DA17-E10D-4EE2-9D94-D4740AF49182}">
      <dgm:prSet/>
      <dgm:spPr/>
      <dgm:t>
        <a:bodyPr/>
        <a:lstStyle/>
        <a:p>
          <a:endParaRPr lang="en-US" sz="1000"/>
        </a:p>
      </dgm:t>
    </dgm:pt>
    <dgm:pt modelId="{ACA97849-2BDD-4A79-BE7F-7AD2E82C8223}" type="sibTrans" cxnId="{BD94DA17-E10D-4EE2-9D94-D4740AF49182}">
      <dgm:prSet/>
      <dgm:spPr>
        <a:blipFill rotWithShape="1">
          <a:blip xmlns:r="http://schemas.openxmlformats.org/officeDocument/2006/relationships" r:embed="rId12"/>
          <a:stretch>
            <a:fillRect/>
          </a:stretch>
        </a:blipFill>
      </dgm:spPr>
      <dgm:t>
        <a:bodyPr/>
        <a:lstStyle/>
        <a:p>
          <a:endParaRPr lang="en-US" sz="1000"/>
        </a:p>
      </dgm:t>
    </dgm:pt>
    <dgm:pt modelId="{B6875DDF-D8F6-408F-BCC0-75D6D005432E}" type="pres">
      <dgm:prSet presAssocID="{EE5E5264-5761-4251-8150-D207B493791B}" presName="Name0" presStyleCnt="0">
        <dgm:presLayoutVars>
          <dgm:chMax val="21"/>
          <dgm:chPref val="21"/>
        </dgm:presLayoutVars>
      </dgm:prSet>
      <dgm:spPr/>
    </dgm:pt>
    <dgm:pt modelId="{861A02D1-D404-46D2-B657-110CD29FFC6A}" type="pres">
      <dgm:prSet presAssocID="{DA3501D0-3E5B-43F2-AC3F-6F1978E17208}" presName="text1" presStyleCnt="0"/>
      <dgm:spPr/>
    </dgm:pt>
    <dgm:pt modelId="{E7EE932D-2728-4997-92ED-43E386DA0EAE}" type="pres">
      <dgm:prSet presAssocID="{DA3501D0-3E5B-43F2-AC3F-6F1978E17208}" presName="textRepeatNode" presStyleLbl="alignNode1" presStyleIdx="0" presStyleCnt="12">
        <dgm:presLayoutVars>
          <dgm:chMax val="0"/>
          <dgm:chPref val="0"/>
          <dgm:bulletEnabled val="1"/>
        </dgm:presLayoutVars>
      </dgm:prSet>
      <dgm:spPr/>
    </dgm:pt>
    <dgm:pt modelId="{DFE7048F-C2D7-43DA-9ED4-862F31FA751C}" type="pres">
      <dgm:prSet presAssocID="{DA3501D0-3E5B-43F2-AC3F-6F1978E17208}" presName="textaccent1" presStyleCnt="0"/>
      <dgm:spPr/>
    </dgm:pt>
    <dgm:pt modelId="{63D43688-FC36-4A38-89F2-D2A1C43046D3}" type="pres">
      <dgm:prSet presAssocID="{DA3501D0-3E5B-43F2-AC3F-6F1978E17208}" presName="accentRepeatNode" presStyleLbl="solidAlignAcc1" presStyleIdx="0" presStyleCnt="24"/>
      <dgm:spPr/>
    </dgm:pt>
    <dgm:pt modelId="{52E0FBCA-C7E7-4E8B-BD76-DE564C226CAA}" type="pres">
      <dgm:prSet presAssocID="{8A789E7F-158E-486B-88F5-4D9CD5E3E3B8}" presName="image1" presStyleCnt="0"/>
      <dgm:spPr/>
    </dgm:pt>
    <dgm:pt modelId="{1C41DA70-9506-4188-93DC-7E79F86CC583}" type="pres">
      <dgm:prSet presAssocID="{8A789E7F-158E-486B-88F5-4D9CD5E3E3B8}" presName="imageRepeatNode" presStyleLbl="alignAcc1" presStyleIdx="0" presStyleCnt="12"/>
      <dgm:spPr/>
    </dgm:pt>
    <dgm:pt modelId="{E64ECFEB-81C9-441A-AC68-18201E37CC59}" type="pres">
      <dgm:prSet presAssocID="{8A789E7F-158E-486B-88F5-4D9CD5E3E3B8}" presName="imageaccent1" presStyleCnt="0"/>
      <dgm:spPr/>
    </dgm:pt>
    <dgm:pt modelId="{48A8BDCF-3811-4578-A055-D84DB92B9407}" type="pres">
      <dgm:prSet presAssocID="{8A789E7F-158E-486B-88F5-4D9CD5E3E3B8}" presName="accentRepeatNode" presStyleLbl="solidAlignAcc1" presStyleIdx="1" presStyleCnt="24"/>
      <dgm:spPr/>
    </dgm:pt>
    <dgm:pt modelId="{0CA5CE6C-EF55-4E19-BA7B-C0A143B2C6E0}" type="pres">
      <dgm:prSet presAssocID="{20078C10-6D97-4076-9691-4DAAFE300C5B}" presName="text2" presStyleCnt="0"/>
      <dgm:spPr/>
    </dgm:pt>
    <dgm:pt modelId="{DC9C266E-E780-4BA7-8D0A-B05BA60BD7C4}" type="pres">
      <dgm:prSet presAssocID="{20078C10-6D97-4076-9691-4DAAFE300C5B}" presName="textRepeatNode" presStyleLbl="alignNode1" presStyleIdx="1" presStyleCnt="12">
        <dgm:presLayoutVars>
          <dgm:chMax val="0"/>
          <dgm:chPref val="0"/>
          <dgm:bulletEnabled val="1"/>
        </dgm:presLayoutVars>
      </dgm:prSet>
      <dgm:spPr/>
    </dgm:pt>
    <dgm:pt modelId="{A4357E02-2BB5-4FB6-9C75-288C865E5D70}" type="pres">
      <dgm:prSet presAssocID="{20078C10-6D97-4076-9691-4DAAFE300C5B}" presName="textaccent2" presStyleCnt="0"/>
      <dgm:spPr/>
    </dgm:pt>
    <dgm:pt modelId="{609769C6-1249-4573-984E-A63195590CFB}" type="pres">
      <dgm:prSet presAssocID="{20078C10-6D97-4076-9691-4DAAFE300C5B}" presName="accentRepeatNode" presStyleLbl="solidAlignAcc1" presStyleIdx="2" presStyleCnt="24"/>
      <dgm:spPr/>
    </dgm:pt>
    <dgm:pt modelId="{C584493A-FCD4-4E04-88D7-124DBAFD6CCA}" type="pres">
      <dgm:prSet presAssocID="{FF92E338-3131-45B2-A7C6-6E2C6D23BA7F}" presName="image2" presStyleCnt="0"/>
      <dgm:spPr/>
    </dgm:pt>
    <dgm:pt modelId="{53B93DFA-8BC3-4A0A-9DC1-E63791BF7FE8}" type="pres">
      <dgm:prSet presAssocID="{FF92E338-3131-45B2-A7C6-6E2C6D23BA7F}" presName="imageRepeatNode" presStyleLbl="alignAcc1" presStyleIdx="1" presStyleCnt="12"/>
      <dgm:spPr/>
    </dgm:pt>
    <dgm:pt modelId="{85B07355-8A0D-436C-9F17-3CBE8DF902C8}" type="pres">
      <dgm:prSet presAssocID="{FF92E338-3131-45B2-A7C6-6E2C6D23BA7F}" presName="imageaccent2" presStyleCnt="0"/>
      <dgm:spPr/>
    </dgm:pt>
    <dgm:pt modelId="{DB961D28-2217-4DE4-B97C-4DC1396CA7DB}" type="pres">
      <dgm:prSet presAssocID="{FF92E338-3131-45B2-A7C6-6E2C6D23BA7F}" presName="accentRepeatNode" presStyleLbl="solidAlignAcc1" presStyleIdx="3" presStyleCnt="24"/>
      <dgm:spPr/>
    </dgm:pt>
    <dgm:pt modelId="{101DF09B-B0FA-4546-8C81-2EB3601D80C4}" type="pres">
      <dgm:prSet presAssocID="{AA0B2D6B-B69A-4E47-A478-93C48AEA6E62}" presName="text3" presStyleCnt="0"/>
      <dgm:spPr/>
    </dgm:pt>
    <dgm:pt modelId="{BBB03AD1-F5E9-4A4C-9592-424956785DB6}" type="pres">
      <dgm:prSet presAssocID="{AA0B2D6B-B69A-4E47-A478-93C48AEA6E62}" presName="textRepeatNode" presStyleLbl="alignNode1" presStyleIdx="2" presStyleCnt="12">
        <dgm:presLayoutVars>
          <dgm:chMax val="0"/>
          <dgm:chPref val="0"/>
          <dgm:bulletEnabled val="1"/>
        </dgm:presLayoutVars>
      </dgm:prSet>
      <dgm:spPr/>
    </dgm:pt>
    <dgm:pt modelId="{D74128A1-8542-4B1A-ADF4-7FC2A701A5BE}" type="pres">
      <dgm:prSet presAssocID="{AA0B2D6B-B69A-4E47-A478-93C48AEA6E62}" presName="textaccent3" presStyleCnt="0"/>
      <dgm:spPr/>
    </dgm:pt>
    <dgm:pt modelId="{70327323-4351-4B5C-B43C-7AA0C0E30171}" type="pres">
      <dgm:prSet presAssocID="{AA0B2D6B-B69A-4E47-A478-93C48AEA6E62}" presName="accentRepeatNode" presStyleLbl="solidAlignAcc1" presStyleIdx="4" presStyleCnt="24"/>
      <dgm:spPr/>
    </dgm:pt>
    <dgm:pt modelId="{0E7D7ED5-3188-41E5-81C6-DA8D1E956CCB}" type="pres">
      <dgm:prSet presAssocID="{092E2DB0-40A8-49EC-B2CD-CC63E1F89BA7}" presName="image3" presStyleCnt="0"/>
      <dgm:spPr/>
    </dgm:pt>
    <dgm:pt modelId="{DDFB18D4-C0AC-4750-8997-ECC516139BFD}" type="pres">
      <dgm:prSet presAssocID="{092E2DB0-40A8-49EC-B2CD-CC63E1F89BA7}" presName="imageRepeatNode" presStyleLbl="alignAcc1" presStyleIdx="2" presStyleCnt="12"/>
      <dgm:spPr/>
    </dgm:pt>
    <dgm:pt modelId="{9F3E2DBF-CC7D-487C-81E5-DDF7F2AE473A}" type="pres">
      <dgm:prSet presAssocID="{092E2DB0-40A8-49EC-B2CD-CC63E1F89BA7}" presName="imageaccent3" presStyleCnt="0"/>
      <dgm:spPr/>
    </dgm:pt>
    <dgm:pt modelId="{E825122D-D657-4FF5-A792-7F4DBBEBE9E7}" type="pres">
      <dgm:prSet presAssocID="{092E2DB0-40A8-49EC-B2CD-CC63E1F89BA7}" presName="accentRepeatNode" presStyleLbl="solidAlignAcc1" presStyleIdx="5" presStyleCnt="24"/>
      <dgm:spPr/>
    </dgm:pt>
    <dgm:pt modelId="{F2BBC7D7-CCC8-4EB6-8AAE-B44CC122F566}" type="pres">
      <dgm:prSet presAssocID="{72459274-B1EA-40AF-9725-C72A0353EF8C}" presName="text4" presStyleCnt="0"/>
      <dgm:spPr/>
    </dgm:pt>
    <dgm:pt modelId="{E684A890-FC49-459B-BA63-9A78443609EC}" type="pres">
      <dgm:prSet presAssocID="{72459274-B1EA-40AF-9725-C72A0353EF8C}" presName="textRepeatNode" presStyleLbl="alignNode1" presStyleIdx="3" presStyleCnt="12">
        <dgm:presLayoutVars>
          <dgm:chMax val="0"/>
          <dgm:chPref val="0"/>
          <dgm:bulletEnabled val="1"/>
        </dgm:presLayoutVars>
      </dgm:prSet>
      <dgm:spPr/>
    </dgm:pt>
    <dgm:pt modelId="{69DEE377-57E7-41ED-A952-FD25DD7AEED8}" type="pres">
      <dgm:prSet presAssocID="{72459274-B1EA-40AF-9725-C72A0353EF8C}" presName="textaccent4" presStyleCnt="0"/>
      <dgm:spPr/>
    </dgm:pt>
    <dgm:pt modelId="{5E052CA5-92E9-4BEB-AFC1-2A3FFC36B094}" type="pres">
      <dgm:prSet presAssocID="{72459274-B1EA-40AF-9725-C72A0353EF8C}" presName="accentRepeatNode" presStyleLbl="solidAlignAcc1" presStyleIdx="6" presStyleCnt="24"/>
      <dgm:spPr/>
    </dgm:pt>
    <dgm:pt modelId="{5A990646-3C6E-4631-91D4-0B30B6C88909}" type="pres">
      <dgm:prSet presAssocID="{2EF5DE7A-7733-42A0-8A85-82AD8EB81454}" presName="image4" presStyleCnt="0"/>
      <dgm:spPr/>
    </dgm:pt>
    <dgm:pt modelId="{9C80A02B-BDA8-44ED-863A-34C9461C828C}" type="pres">
      <dgm:prSet presAssocID="{2EF5DE7A-7733-42A0-8A85-82AD8EB81454}" presName="imageRepeatNode" presStyleLbl="alignAcc1" presStyleIdx="3" presStyleCnt="12"/>
      <dgm:spPr/>
    </dgm:pt>
    <dgm:pt modelId="{1A14D9F5-BEFB-4D78-89AD-61DC2F3ED3B4}" type="pres">
      <dgm:prSet presAssocID="{2EF5DE7A-7733-42A0-8A85-82AD8EB81454}" presName="imageaccent4" presStyleCnt="0"/>
      <dgm:spPr/>
    </dgm:pt>
    <dgm:pt modelId="{ACEE7816-3256-400C-BABC-B0931EA63701}" type="pres">
      <dgm:prSet presAssocID="{2EF5DE7A-7733-42A0-8A85-82AD8EB81454}" presName="accentRepeatNode" presStyleLbl="solidAlignAcc1" presStyleIdx="7" presStyleCnt="24"/>
      <dgm:spPr/>
    </dgm:pt>
    <dgm:pt modelId="{C3F4C208-3C9C-4799-AC45-9E578E207264}" type="pres">
      <dgm:prSet presAssocID="{CCB8EAD0-B602-4E33-8000-6821652525FB}" presName="text5" presStyleCnt="0"/>
      <dgm:spPr/>
    </dgm:pt>
    <dgm:pt modelId="{13B7B340-F8E5-4C29-A021-4B1482D353E7}" type="pres">
      <dgm:prSet presAssocID="{CCB8EAD0-B602-4E33-8000-6821652525FB}" presName="textRepeatNode" presStyleLbl="alignNode1" presStyleIdx="4" presStyleCnt="12">
        <dgm:presLayoutVars>
          <dgm:chMax val="0"/>
          <dgm:chPref val="0"/>
          <dgm:bulletEnabled val="1"/>
        </dgm:presLayoutVars>
      </dgm:prSet>
      <dgm:spPr/>
    </dgm:pt>
    <dgm:pt modelId="{88918471-7910-4DAF-A77E-2D3AFB5A8EB7}" type="pres">
      <dgm:prSet presAssocID="{CCB8EAD0-B602-4E33-8000-6821652525FB}" presName="textaccent5" presStyleCnt="0"/>
      <dgm:spPr/>
    </dgm:pt>
    <dgm:pt modelId="{CF85FA35-DDA9-4B70-88B1-CBD87863F49F}" type="pres">
      <dgm:prSet presAssocID="{CCB8EAD0-B602-4E33-8000-6821652525FB}" presName="accentRepeatNode" presStyleLbl="solidAlignAcc1" presStyleIdx="8" presStyleCnt="24"/>
      <dgm:spPr/>
    </dgm:pt>
    <dgm:pt modelId="{054941BA-153E-4299-8553-2BCF96D58A73}" type="pres">
      <dgm:prSet presAssocID="{36AC8864-433C-4395-ABEE-0C9455A51D2D}" presName="image5" presStyleCnt="0"/>
      <dgm:spPr/>
    </dgm:pt>
    <dgm:pt modelId="{8657FEAF-BC90-4111-A662-DAAD08330E65}" type="pres">
      <dgm:prSet presAssocID="{36AC8864-433C-4395-ABEE-0C9455A51D2D}" presName="imageRepeatNode" presStyleLbl="alignAcc1" presStyleIdx="4" presStyleCnt="12"/>
      <dgm:spPr/>
    </dgm:pt>
    <dgm:pt modelId="{D81AB551-FCA2-4808-8D4F-9FADE899FB04}" type="pres">
      <dgm:prSet presAssocID="{36AC8864-433C-4395-ABEE-0C9455A51D2D}" presName="imageaccent5" presStyleCnt="0"/>
      <dgm:spPr/>
    </dgm:pt>
    <dgm:pt modelId="{662B85AD-98FC-4D85-9A66-C8B0DAAA1327}" type="pres">
      <dgm:prSet presAssocID="{36AC8864-433C-4395-ABEE-0C9455A51D2D}" presName="accentRepeatNode" presStyleLbl="solidAlignAcc1" presStyleIdx="9" presStyleCnt="24"/>
      <dgm:spPr/>
    </dgm:pt>
    <dgm:pt modelId="{EC09B485-BC33-48B1-9ED1-E1A8BC00CA59}" type="pres">
      <dgm:prSet presAssocID="{843A6B1E-7A71-4A98-978F-06D9C54952D2}" presName="text6" presStyleCnt="0"/>
      <dgm:spPr/>
    </dgm:pt>
    <dgm:pt modelId="{EAF3F542-0C07-4AA4-9ECF-92843CE62334}" type="pres">
      <dgm:prSet presAssocID="{843A6B1E-7A71-4A98-978F-06D9C54952D2}" presName="textRepeatNode" presStyleLbl="alignNode1" presStyleIdx="5" presStyleCnt="12">
        <dgm:presLayoutVars>
          <dgm:chMax val="0"/>
          <dgm:chPref val="0"/>
          <dgm:bulletEnabled val="1"/>
        </dgm:presLayoutVars>
      </dgm:prSet>
      <dgm:spPr/>
    </dgm:pt>
    <dgm:pt modelId="{A150CFD0-C3F7-4D0C-B600-7E028192B245}" type="pres">
      <dgm:prSet presAssocID="{843A6B1E-7A71-4A98-978F-06D9C54952D2}" presName="textaccent6" presStyleCnt="0"/>
      <dgm:spPr/>
    </dgm:pt>
    <dgm:pt modelId="{311832C1-9766-49DE-B17A-28AD5A1DFE7B}" type="pres">
      <dgm:prSet presAssocID="{843A6B1E-7A71-4A98-978F-06D9C54952D2}" presName="accentRepeatNode" presStyleLbl="solidAlignAcc1" presStyleIdx="10" presStyleCnt="24"/>
      <dgm:spPr/>
    </dgm:pt>
    <dgm:pt modelId="{1979AED6-41BA-43E1-9B11-16C9131C10C3}" type="pres">
      <dgm:prSet presAssocID="{DABDA94C-9CB4-4B90-AFBB-615F00CF70CA}" presName="image6" presStyleCnt="0"/>
      <dgm:spPr/>
    </dgm:pt>
    <dgm:pt modelId="{E5833038-1CD4-42EB-A3AB-4584AB07B99A}" type="pres">
      <dgm:prSet presAssocID="{DABDA94C-9CB4-4B90-AFBB-615F00CF70CA}" presName="imageRepeatNode" presStyleLbl="alignAcc1" presStyleIdx="5" presStyleCnt="12"/>
      <dgm:spPr/>
    </dgm:pt>
    <dgm:pt modelId="{D00F954D-2A5B-47E2-B293-20A48A1D3587}" type="pres">
      <dgm:prSet presAssocID="{DABDA94C-9CB4-4B90-AFBB-615F00CF70CA}" presName="imageaccent6" presStyleCnt="0"/>
      <dgm:spPr/>
    </dgm:pt>
    <dgm:pt modelId="{E604335D-A693-4E39-AE9B-A0045A336EF4}" type="pres">
      <dgm:prSet presAssocID="{DABDA94C-9CB4-4B90-AFBB-615F00CF70CA}" presName="accentRepeatNode" presStyleLbl="solidAlignAcc1" presStyleIdx="11" presStyleCnt="24"/>
      <dgm:spPr/>
    </dgm:pt>
    <dgm:pt modelId="{DCD58364-9079-4647-ACA0-6839332F066C}" type="pres">
      <dgm:prSet presAssocID="{276333FF-4B8B-4D3D-B39F-F92EB21905E0}" presName="text7" presStyleCnt="0"/>
      <dgm:spPr/>
    </dgm:pt>
    <dgm:pt modelId="{640F4AD2-7879-408A-BB7F-6B74244DB68D}" type="pres">
      <dgm:prSet presAssocID="{276333FF-4B8B-4D3D-B39F-F92EB21905E0}" presName="textRepeatNode" presStyleLbl="alignNode1" presStyleIdx="6" presStyleCnt="12">
        <dgm:presLayoutVars>
          <dgm:chMax val="0"/>
          <dgm:chPref val="0"/>
          <dgm:bulletEnabled val="1"/>
        </dgm:presLayoutVars>
      </dgm:prSet>
      <dgm:spPr/>
    </dgm:pt>
    <dgm:pt modelId="{B97D1954-E6EE-4CCB-AB10-E9C32799224D}" type="pres">
      <dgm:prSet presAssocID="{276333FF-4B8B-4D3D-B39F-F92EB21905E0}" presName="textaccent7" presStyleCnt="0"/>
      <dgm:spPr/>
    </dgm:pt>
    <dgm:pt modelId="{E90D6C61-8917-4816-AB06-701F22EF2922}" type="pres">
      <dgm:prSet presAssocID="{276333FF-4B8B-4D3D-B39F-F92EB21905E0}" presName="accentRepeatNode" presStyleLbl="solidAlignAcc1" presStyleIdx="12" presStyleCnt="24"/>
      <dgm:spPr/>
    </dgm:pt>
    <dgm:pt modelId="{957517B7-5945-439F-890F-9F9D507CF52C}" type="pres">
      <dgm:prSet presAssocID="{ACA97849-2BDD-4A79-BE7F-7AD2E82C8223}" presName="image7" presStyleCnt="0"/>
      <dgm:spPr/>
    </dgm:pt>
    <dgm:pt modelId="{AD026414-C41F-4C76-A37C-3F38051D4FFD}" type="pres">
      <dgm:prSet presAssocID="{ACA97849-2BDD-4A79-BE7F-7AD2E82C8223}" presName="imageRepeatNode" presStyleLbl="alignAcc1" presStyleIdx="6" presStyleCnt="12"/>
      <dgm:spPr/>
    </dgm:pt>
    <dgm:pt modelId="{99CF3BC2-41B2-4668-83B4-849D42B9DF12}" type="pres">
      <dgm:prSet presAssocID="{ACA97849-2BDD-4A79-BE7F-7AD2E82C8223}" presName="imageaccent7" presStyleCnt="0"/>
      <dgm:spPr/>
    </dgm:pt>
    <dgm:pt modelId="{2A258D54-F8C3-48AD-881E-5C79B911A2CA}" type="pres">
      <dgm:prSet presAssocID="{ACA97849-2BDD-4A79-BE7F-7AD2E82C8223}" presName="accentRepeatNode" presStyleLbl="solidAlignAcc1" presStyleIdx="13" presStyleCnt="24"/>
      <dgm:spPr/>
    </dgm:pt>
    <dgm:pt modelId="{B6AD7D74-B2FD-443E-AA70-E82761978B46}" type="pres">
      <dgm:prSet presAssocID="{3532AB6A-91A0-4A7F-8F9A-6E8B10F57ED8}" presName="text8" presStyleCnt="0"/>
      <dgm:spPr/>
    </dgm:pt>
    <dgm:pt modelId="{A0E2C6B4-BD79-4940-82C3-CAD4E95E89E6}" type="pres">
      <dgm:prSet presAssocID="{3532AB6A-91A0-4A7F-8F9A-6E8B10F57ED8}" presName="textRepeatNode" presStyleLbl="alignNode1" presStyleIdx="7" presStyleCnt="12">
        <dgm:presLayoutVars>
          <dgm:chMax val="0"/>
          <dgm:chPref val="0"/>
          <dgm:bulletEnabled val="1"/>
        </dgm:presLayoutVars>
      </dgm:prSet>
      <dgm:spPr/>
    </dgm:pt>
    <dgm:pt modelId="{7952483F-02C2-4BFA-966E-C762CB647BB9}" type="pres">
      <dgm:prSet presAssocID="{3532AB6A-91A0-4A7F-8F9A-6E8B10F57ED8}" presName="textaccent8" presStyleCnt="0"/>
      <dgm:spPr/>
    </dgm:pt>
    <dgm:pt modelId="{B89A3211-A247-4C38-AF0C-5A6D3B67C4CA}" type="pres">
      <dgm:prSet presAssocID="{3532AB6A-91A0-4A7F-8F9A-6E8B10F57ED8}" presName="accentRepeatNode" presStyleLbl="solidAlignAcc1" presStyleIdx="14" presStyleCnt="24"/>
      <dgm:spPr/>
    </dgm:pt>
    <dgm:pt modelId="{5EA0C92D-AC65-4D1C-A03B-38140E164936}" type="pres">
      <dgm:prSet presAssocID="{6CBD4D71-08F4-4D0F-9320-FF93446415BB}" presName="image8" presStyleCnt="0"/>
      <dgm:spPr/>
    </dgm:pt>
    <dgm:pt modelId="{D3E902E1-9D68-4269-AE32-48A1F7AA02FF}" type="pres">
      <dgm:prSet presAssocID="{6CBD4D71-08F4-4D0F-9320-FF93446415BB}" presName="imageRepeatNode" presStyleLbl="alignAcc1" presStyleIdx="7" presStyleCnt="12"/>
      <dgm:spPr/>
    </dgm:pt>
    <dgm:pt modelId="{6533E26B-60A7-41C8-9ACA-B51837E79703}" type="pres">
      <dgm:prSet presAssocID="{6CBD4D71-08F4-4D0F-9320-FF93446415BB}" presName="imageaccent8" presStyleCnt="0"/>
      <dgm:spPr/>
    </dgm:pt>
    <dgm:pt modelId="{485A5834-30E3-4AF4-AF99-71A91564CCFB}" type="pres">
      <dgm:prSet presAssocID="{6CBD4D71-08F4-4D0F-9320-FF93446415BB}" presName="accentRepeatNode" presStyleLbl="solidAlignAcc1" presStyleIdx="15" presStyleCnt="24"/>
      <dgm:spPr/>
    </dgm:pt>
    <dgm:pt modelId="{5FE73C69-DC4A-4253-B555-5537DC99BC6C}" type="pres">
      <dgm:prSet presAssocID="{81E82FC0-5104-4CE2-BD76-D7F64EB613EA}" presName="text9" presStyleCnt="0"/>
      <dgm:spPr/>
    </dgm:pt>
    <dgm:pt modelId="{E918D9D4-0D01-4EDE-BB8C-0DF19FA121DE}" type="pres">
      <dgm:prSet presAssocID="{81E82FC0-5104-4CE2-BD76-D7F64EB613EA}" presName="textRepeatNode" presStyleLbl="alignNode1" presStyleIdx="8" presStyleCnt="12">
        <dgm:presLayoutVars>
          <dgm:chMax val="0"/>
          <dgm:chPref val="0"/>
          <dgm:bulletEnabled val="1"/>
        </dgm:presLayoutVars>
      </dgm:prSet>
      <dgm:spPr/>
    </dgm:pt>
    <dgm:pt modelId="{FBF4168F-4D0C-4BC0-8F33-10CBBE543F87}" type="pres">
      <dgm:prSet presAssocID="{81E82FC0-5104-4CE2-BD76-D7F64EB613EA}" presName="textaccent9" presStyleCnt="0"/>
      <dgm:spPr/>
    </dgm:pt>
    <dgm:pt modelId="{C27D75F8-5692-4294-AEA5-8C3598E407BF}" type="pres">
      <dgm:prSet presAssocID="{81E82FC0-5104-4CE2-BD76-D7F64EB613EA}" presName="accentRepeatNode" presStyleLbl="solidAlignAcc1" presStyleIdx="16" presStyleCnt="24"/>
      <dgm:spPr/>
    </dgm:pt>
    <dgm:pt modelId="{8A9B3B7C-3582-4A23-9058-BA0D1BB0ED26}" type="pres">
      <dgm:prSet presAssocID="{EE8206DB-BB74-40C7-8C2A-F8586DFC7ECC}" presName="image9" presStyleCnt="0"/>
      <dgm:spPr/>
    </dgm:pt>
    <dgm:pt modelId="{490A078E-2BD4-4C3F-9F38-028BBBDB607D}" type="pres">
      <dgm:prSet presAssocID="{EE8206DB-BB74-40C7-8C2A-F8586DFC7ECC}" presName="imageRepeatNode" presStyleLbl="alignAcc1" presStyleIdx="8" presStyleCnt="12"/>
      <dgm:spPr/>
    </dgm:pt>
    <dgm:pt modelId="{504C6F8E-6AEE-4CA7-AB36-07E2D5737447}" type="pres">
      <dgm:prSet presAssocID="{EE8206DB-BB74-40C7-8C2A-F8586DFC7ECC}" presName="imageaccent9" presStyleCnt="0"/>
      <dgm:spPr/>
    </dgm:pt>
    <dgm:pt modelId="{84C0D6E6-32CE-4022-AAF6-9FF4EC550F7F}" type="pres">
      <dgm:prSet presAssocID="{EE8206DB-BB74-40C7-8C2A-F8586DFC7ECC}" presName="accentRepeatNode" presStyleLbl="solidAlignAcc1" presStyleIdx="17" presStyleCnt="24"/>
      <dgm:spPr/>
    </dgm:pt>
    <dgm:pt modelId="{5B9DECA1-F557-4AD2-9FAC-1D8367F796AF}" type="pres">
      <dgm:prSet presAssocID="{9DCF2354-5314-49E4-8BD5-ECECA3B8AACF}" presName="text10" presStyleCnt="0"/>
      <dgm:spPr/>
    </dgm:pt>
    <dgm:pt modelId="{D0FFF254-8328-441E-A26A-67176DCFC253}" type="pres">
      <dgm:prSet presAssocID="{9DCF2354-5314-49E4-8BD5-ECECA3B8AACF}" presName="textRepeatNode" presStyleLbl="alignNode1" presStyleIdx="9" presStyleCnt="12">
        <dgm:presLayoutVars>
          <dgm:chMax val="0"/>
          <dgm:chPref val="0"/>
          <dgm:bulletEnabled val="1"/>
        </dgm:presLayoutVars>
      </dgm:prSet>
      <dgm:spPr/>
    </dgm:pt>
    <dgm:pt modelId="{78D86BA1-7DBB-4B94-A232-BB19FB3A6501}" type="pres">
      <dgm:prSet presAssocID="{9DCF2354-5314-49E4-8BD5-ECECA3B8AACF}" presName="textaccent10" presStyleCnt="0"/>
      <dgm:spPr/>
    </dgm:pt>
    <dgm:pt modelId="{D9E48257-7524-40BE-B79E-907DA39A59E2}" type="pres">
      <dgm:prSet presAssocID="{9DCF2354-5314-49E4-8BD5-ECECA3B8AACF}" presName="accentRepeatNode" presStyleLbl="solidAlignAcc1" presStyleIdx="18" presStyleCnt="24"/>
      <dgm:spPr/>
    </dgm:pt>
    <dgm:pt modelId="{8BE03115-CDBE-4AB5-B5A0-4321BD4A9393}" type="pres">
      <dgm:prSet presAssocID="{33ADDC15-B75F-4F77-992D-139FB93D9975}" presName="image10" presStyleCnt="0"/>
      <dgm:spPr/>
    </dgm:pt>
    <dgm:pt modelId="{7BDAB4AB-CBAC-4C77-BA43-C9EE70B92AEF}" type="pres">
      <dgm:prSet presAssocID="{33ADDC15-B75F-4F77-992D-139FB93D9975}" presName="imageRepeatNode" presStyleLbl="alignAcc1" presStyleIdx="9" presStyleCnt="12"/>
      <dgm:spPr/>
    </dgm:pt>
    <dgm:pt modelId="{63ADF900-79C8-448A-A956-378C6C76EC1A}" type="pres">
      <dgm:prSet presAssocID="{33ADDC15-B75F-4F77-992D-139FB93D9975}" presName="imageaccent10" presStyleCnt="0"/>
      <dgm:spPr/>
    </dgm:pt>
    <dgm:pt modelId="{3EC58343-B15C-4EA4-AE31-3B5276FEE4F8}" type="pres">
      <dgm:prSet presAssocID="{33ADDC15-B75F-4F77-992D-139FB93D9975}" presName="accentRepeatNode" presStyleLbl="solidAlignAcc1" presStyleIdx="19" presStyleCnt="24"/>
      <dgm:spPr/>
    </dgm:pt>
    <dgm:pt modelId="{1F59408A-40D1-4D32-8FDD-616E034ADEE2}" type="pres">
      <dgm:prSet presAssocID="{21FA824B-1CC8-4CEC-A926-03875C6BDEFE}" presName="text11" presStyleCnt="0"/>
      <dgm:spPr/>
    </dgm:pt>
    <dgm:pt modelId="{32EB963E-0379-4DD0-B813-EFDCE80DD2EA}" type="pres">
      <dgm:prSet presAssocID="{21FA824B-1CC8-4CEC-A926-03875C6BDEFE}" presName="textRepeatNode" presStyleLbl="alignNode1" presStyleIdx="10" presStyleCnt="12">
        <dgm:presLayoutVars>
          <dgm:chMax val="0"/>
          <dgm:chPref val="0"/>
          <dgm:bulletEnabled val="1"/>
        </dgm:presLayoutVars>
      </dgm:prSet>
      <dgm:spPr/>
    </dgm:pt>
    <dgm:pt modelId="{6FEB27CB-0F18-43E6-B26E-D960100569E3}" type="pres">
      <dgm:prSet presAssocID="{21FA824B-1CC8-4CEC-A926-03875C6BDEFE}" presName="textaccent11" presStyleCnt="0"/>
      <dgm:spPr/>
    </dgm:pt>
    <dgm:pt modelId="{02D37C0A-3756-4D5E-9837-3E67388337C0}" type="pres">
      <dgm:prSet presAssocID="{21FA824B-1CC8-4CEC-A926-03875C6BDEFE}" presName="accentRepeatNode" presStyleLbl="solidAlignAcc1" presStyleIdx="20" presStyleCnt="24"/>
      <dgm:spPr/>
    </dgm:pt>
    <dgm:pt modelId="{0FF1B882-3D7A-438E-96DC-5EF9F1F3B810}" type="pres">
      <dgm:prSet presAssocID="{07C7F930-DECA-4FA9-AC06-6B679763CD44}" presName="image11" presStyleCnt="0"/>
      <dgm:spPr/>
    </dgm:pt>
    <dgm:pt modelId="{A340EBD6-0F5A-4FD9-B801-ED3F22745887}" type="pres">
      <dgm:prSet presAssocID="{07C7F930-DECA-4FA9-AC06-6B679763CD44}" presName="imageRepeatNode" presStyleLbl="alignAcc1" presStyleIdx="10" presStyleCnt="12"/>
      <dgm:spPr/>
    </dgm:pt>
    <dgm:pt modelId="{96C703FB-3BB4-4DE6-809F-A3F38087BB24}" type="pres">
      <dgm:prSet presAssocID="{07C7F930-DECA-4FA9-AC06-6B679763CD44}" presName="imageaccent11" presStyleCnt="0"/>
      <dgm:spPr/>
    </dgm:pt>
    <dgm:pt modelId="{A197F4C8-2C1D-4AD2-AA18-D07DDD149DF0}" type="pres">
      <dgm:prSet presAssocID="{07C7F930-DECA-4FA9-AC06-6B679763CD44}" presName="accentRepeatNode" presStyleLbl="solidAlignAcc1" presStyleIdx="21" presStyleCnt="24"/>
      <dgm:spPr/>
    </dgm:pt>
    <dgm:pt modelId="{CC469ED8-6DAF-492E-82DF-AA2472BA210E}" type="pres">
      <dgm:prSet presAssocID="{1EA40924-5493-4157-9FD3-05B5A05015C4}" presName="text12" presStyleCnt="0"/>
      <dgm:spPr/>
    </dgm:pt>
    <dgm:pt modelId="{240F245C-AAB4-4560-8F6F-C90DE70E2E32}" type="pres">
      <dgm:prSet presAssocID="{1EA40924-5493-4157-9FD3-05B5A05015C4}" presName="textRepeatNode" presStyleLbl="alignNode1" presStyleIdx="11" presStyleCnt="12">
        <dgm:presLayoutVars>
          <dgm:chMax val="0"/>
          <dgm:chPref val="0"/>
          <dgm:bulletEnabled val="1"/>
        </dgm:presLayoutVars>
      </dgm:prSet>
      <dgm:spPr/>
    </dgm:pt>
    <dgm:pt modelId="{C59D5CDF-C7A3-470F-A168-E8243F472094}" type="pres">
      <dgm:prSet presAssocID="{1EA40924-5493-4157-9FD3-05B5A05015C4}" presName="textaccent12" presStyleCnt="0"/>
      <dgm:spPr/>
    </dgm:pt>
    <dgm:pt modelId="{F241B9F9-54FB-4C12-9D06-AAB4B2D03393}" type="pres">
      <dgm:prSet presAssocID="{1EA40924-5493-4157-9FD3-05B5A05015C4}" presName="accentRepeatNode" presStyleLbl="solidAlignAcc1" presStyleIdx="22" presStyleCnt="24"/>
      <dgm:spPr/>
    </dgm:pt>
    <dgm:pt modelId="{981C944A-64C4-44B3-B7A0-DD2129FF6FCE}" type="pres">
      <dgm:prSet presAssocID="{DAEB9B42-748A-4F23-9C66-9C1F187675FD}" presName="image12" presStyleCnt="0"/>
      <dgm:spPr/>
    </dgm:pt>
    <dgm:pt modelId="{8477754A-3975-4780-BFC3-BD2E155BE6C0}" type="pres">
      <dgm:prSet presAssocID="{DAEB9B42-748A-4F23-9C66-9C1F187675FD}" presName="imageRepeatNode" presStyleLbl="alignAcc1" presStyleIdx="11" presStyleCnt="12"/>
      <dgm:spPr/>
    </dgm:pt>
    <dgm:pt modelId="{499D21C4-5899-4ABE-BB7E-C25128316119}" type="pres">
      <dgm:prSet presAssocID="{DAEB9B42-748A-4F23-9C66-9C1F187675FD}" presName="imageaccent12" presStyleCnt="0"/>
      <dgm:spPr/>
    </dgm:pt>
    <dgm:pt modelId="{0FB848D2-119E-4837-BE54-35A12CFA4A9B}" type="pres">
      <dgm:prSet presAssocID="{DAEB9B42-748A-4F23-9C66-9C1F187675FD}" presName="accentRepeatNode" presStyleLbl="solidAlignAcc1" presStyleIdx="23" presStyleCnt="24"/>
      <dgm:spPr/>
    </dgm:pt>
  </dgm:ptLst>
  <dgm:cxnLst>
    <dgm:cxn modelId="{BDEF4407-601F-4AC4-8B56-81FC8F455943}" type="presOf" srcId="{2EF5DE7A-7733-42A0-8A85-82AD8EB81454}" destId="{9C80A02B-BDA8-44ED-863A-34C9461C828C}" srcOrd="0" destOrd="0" presId="urn:microsoft.com/office/officeart/2008/layout/HexagonCluster"/>
    <dgm:cxn modelId="{BD94DA17-E10D-4EE2-9D94-D4740AF49182}" srcId="{EE5E5264-5761-4251-8150-D207B493791B}" destId="{276333FF-4B8B-4D3D-B39F-F92EB21905E0}" srcOrd="6" destOrd="0" parTransId="{A757C456-BD83-4757-8400-D9DFF4B65140}" sibTransId="{ACA97849-2BDD-4A79-BE7F-7AD2E82C8223}"/>
    <dgm:cxn modelId="{98C9C21A-4886-40F0-8209-80ADFDDB1A91}" srcId="{EE5E5264-5761-4251-8150-D207B493791B}" destId="{72459274-B1EA-40AF-9725-C72A0353EF8C}" srcOrd="3" destOrd="0" parTransId="{1BC08EFD-325F-4D29-9107-2576AE126DE7}" sibTransId="{2EF5DE7A-7733-42A0-8A85-82AD8EB81454}"/>
    <dgm:cxn modelId="{AE5EC323-4DA8-403B-AEB0-49108138D7D1}" srcId="{EE5E5264-5761-4251-8150-D207B493791B}" destId="{20078C10-6D97-4076-9691-4DAAFE300C5B}" srcOrd="1" destOrd="0" parTransId="{78EBA545-51CD-438B-BB54-E6378A31E595}" sibTransId="{FF92E338-3131-45B2-A7C6-6E2C6D23BA7F}"/>
    <dgm:cxn modelId="{9A340524-CB34-4516-B2ED-09A9C164DEBA}" type="presOf" srcId="{DAEB9B42-748A-4F23-9C66-9C1F187675FD}" destId="{8477754A-3975-4780-BFC3-BD2E155BE6C0}" srcOrd="0" destOrd="0" presId="urn:microsoft.com/office/officeart/2008/layout/HexagonCluster"/>
    <dgm:cxn modelId="{9F4F1F39-E8F4-4A87-B1DF-E91A94CE44E1}" type="presOf" srcId="{6CBD4D71-08F4-4D0F-9320-FF93446415BB}" destId="{D3E902E1-9D68-4269-AE32-48A1F7AA02FF}" srcOrd="0" destOrd="0" presId="urn:microsoft.com/office/officeart/2008/layout/HexagonCluster"/>
    <dgm:cxn modelId="{22C4EE39-49A5-4B07-980B-4E500F53AE93}" type="presOf" srcId="{AA0B2D6B-B69A-4E47-A478-93C48AEA6E62}" destId="{BBB03AD1-F5E9-4A4C-9592-424956785DB6}" srcOrd="0" destOrd="0" presId="urn:microsoft.com/office/officeart/2008/layout/HexagonCluster"/>
    <dgm:cxn modelId="{A96C9A3B-52B3-4B70-97BF-1418796EB0B8}" srcId="{EE5E5264-5761-4251-8150-D207B493791B}" destId="{3532AB6A-91A0-4A7F-8F9A-6E8B10F57ED8}" srcOrd="7" destOrd="0" parTransId="{21AB15CF-4875-4BD5-8ED8-9817CDD0801D}" sibTransId="{6CBD4D71-08F4-4D0F-9320-FF93446415BB}"/>
    <dgm:cxn modelId="{EC27E660-3E91-49D1-A02F-4DF4659644A0}" type="presOf" srcId="{20078C10-6D97-4076-9691-4DAAFE300C5B}" destId="{DC9C266E-E780-4BA7-8D0A-B05BA60BD7C4}" srcOrd="0" destOrd="0" presId="urn:microsoft.com/office/officeart/2008/layout/HexagonCluster"/>
    <dgm:cxn modelId="{E0F09244-A099-461E-9A0F-D776A8929CC0}" type="presOf" srcId="{092E2DB0-40A8-49EC-B2CD-CC63E1F89BA7}" destId="{DDFB18D4-C0AC-4750-8997-ECC516139BFD}" srcOrd="0" destOrd="0" presId="urn:microsoft.com/office/officeart/2008/layout/HexagonCluster"/>
    <dgm:cxn modelId="{1517EA66-49F6-4136-9CF3-51B9619BEC03}" srcId="{EE5E5264-5761-4251-8150-D207B493791B}" destId="{DA3501D0-3E5B-43F2-AC3F-6F1978E17208}" srcOrd="0" destOrd="0" parTransId="{AF43880C-5AD5-422A-AA48-B49F5BD87C06}" sibTransId="{8A789E7F-158E-486B-88F5-4D9CD5E3E3B8}"/>
    <dgm:cxn modelId="{229D9454-9B2C-4C0D-8661-37A2E4B90105}" srcId="{EE5E5264-5761-4251-8150-D207B493791B}" destId="{21FA824B-1CC8-4CEC-A926-03875C6BDEFE}" srcOrd="10" destOrd="0" parTransId="{9408619F-EBD4-4247-B178-514D6745F95B}" sibTransId="{07C7F930-DECA-4FA9-AC06-6B679763CD44}"/>
    <dgm:cxn modelId="{4E21D474-6780-4ADC-8FA4-A1686A69DA54}" srcId="{EE5E5264-5761-4251-8150-D207B493791B}" destId="{81E82FC0-5104-4CE2-BD76-D7F64EB613EA}" srcOrd="8" destOrd="0" parTransId="{27AEBE93-7C29-4A9B-8B81-648EB7225D19}" sibTransId="{EE8206DB-BB74-40C7-8C2A-F8586DFC7ECC}"/>
    <dgm:cxn modelId="{D9D4D956-CC17-4EB0-89F0-A3D734655037}" type="presOf" srcId="{FF92E338-3131-45B2-A7C6-6E2C6D23BA7F}" destId="{53B93DFA-8BC3-4A0A-9DC1-E63791BF7FE8}" srcOrd="0" destOrd="0" presId="urn:microsoft.com/office/officeart/2008/layout/HexagonCluster"/>
    <dgm:cxn modelId="{BB668E77-282A-418C-A245-41D1C72630E6}" srcId="{EE5E5264-5761-4251-8150-D207B493791B}" destId="{1EA40924-5493-4157-9FD3-05B5A05015C4}" srcOrd="11" destOrd="0" parTransId="{18E07A25-C065-47A9-A83C-095CEBE3EFD3}" sibTransId="{DAEB9B42-748A-4F23-9C66-9C1F187675FD}"/>
    <dgm:cxn modelId="{C28D4358-CAC5-415D-A8FF-0B2A5846AFC8}" type="presOf" srcId="{DA3501D0-3E5B-43F2-AC3F-6F1978E17208}" destId="{E7EE932D-2728-4997-92ED-43E386DA0EAE}" srcOrd="0" destOrd="0" presId="urn:microsoft.com/office/officeart/2008/layout/HexagonCluster"/>
    <dgm:cxn modelId="{E7096D5A-9549-4C7B-974E-5F0145E06194}" type="presOf" srcId="{36AC8864-433C-4395-ABEE-0C9455A51D2D}" destId="{8657FEAF-BC90-4111-A662-DAAD08330E65}" srcOrd="0" destOrd="0" presId="urn:microsoft.com/office/officeart/2008/layout/HexagonCluster"/>
    <dgm:cxn modelId="{6278777E-57FD-4D50-92AC-686DECE4D1A1}" type="presOf" srcId="{ACA97849-2BDD-4A79-BE7F-7AD2E82C8223}" destId="{AD026414-C41F-4C76-A37C-3F38051D4FFD}" srcOrd="0" destOrd="0" presId="urn:microsoft.com/office/officeart/2008/layout/HexagonCluster"/>
    <dgm:cxn modelId="{9F294D7F-69C9-4A98-839E-C0935D9CB156}" type="presOf" srcId="{DABDA94C-9CB4-4B90-AFBB-615F00CF70CA}" destId="{E5833038-1CD4-42EB-A3AB-4584AB07B99A}" srcOrd="0" destOrd="0" presId="urn:microsoft.com/office/officeart/2008/layout/HexagonCluster"/>
    <dgm:cxn modelId="{E3AC6D8F-0A33-4BFE-BBC4-A31A81C163D6}" type="presOf" srcId="{843A6B1E-7A71-4A98-978F-06D9C54952D2}" destId="{EAF3F542-0C07-4AA4-9ECF-92843CE62334}" srcOrd="0" destOrd="0" presId="urn:microsoft.com/office/officeart/2008/layout/HexagonCluster"/>
    <dgm:cxn modelId="{2226848F-841C-42CE-B4C2-3D243925046D}" type="presOf" srcId="{33ADDC15-B75F-4F77-992D-139FB93D9975}" destId="{7BDAB4AB-CBAC-4C77-BA43-C9EE70B92AEF}" srcOrd="0" destOrd="0" presId="urn:microsoft.com/office/officeart/2008/layout/HexagonCluster"/>
    <dgm:cxn modelId="{6954ED96-75CC-4601-A7A7-A7E4DCE41DAC}" type="presOf" srcId="{EE8206DB-BB74-40C7-8C2A-F8586DFC7ECC}" destId="{490A078E-2BD4-4C3F-9F38-028BBBDB607D}" srcOrd="0" destOrd="0" presId="urn:microsoft.com/office/officeart/2008/layout/HexagonCluster"/>
    <dgm:cxn modelId="{7E5D609F-DBD6-4E5D-B8EF-5A1E9FBA5284}" srcId="{EE5E5264-5761-4251-8150-D207B493791B}" destId="{9DCF2354-5314-49E4-8BD5-ECECA3B8AACF}" srcOrd="9" destOrd="0" parTransId="{8074FCFA-81BD-45D1-B466-47E541497687}" sibTransId="{33ADDC15-B75F-4F77-992D-139FB93D9975}"/>
    <dgm:cxn modelId="{BAD367A9-936C-4D2B-A634-58CE2CB14C73}" type="presOf" srcId="{9DCF2354-5314-49E4-8BD5-ECECA3B8AACF}" destId="{D0FFF254-8328-441E-A26A-67176DCFC253}" srcOrd="0" destOrd="0" presId="urn:microsoft.com/office/officeart/2008/layout/HexagonCluster"/>
    <dgm:cxn modelId="{1E93D7A9-D69F-4D9E-8617-D1B35BD28ADD}" srcId="{EE5E5264-5761-4251-8150-D207B493791B}" destId="{843A6B1E-7A71-4A98-978F-06D9C54952D2}" srcOrd="5" destOrd="0" parTransId="{D83C4B2A-53FC-4096-9BBF-41F686E86F63}" sibTransId="{DABDA94C-9CB4-4B90-AFBB-615F00CF70CA}"/>
    <dgm:cxn modelId="{E978AEB6-FD14-4ADB-AFF3-189D579F640B}" type="presOf" srcId="{EE5E5264-5761-4251-8150-D207B493791B}" destId="{B6875DDF-D8F6-408F-BCC0-75D6D005432E}" srcOrd="0" destOrd="0" presId="urn:microsoft.com/office/officeart/2008/layout/HexagonCluster"/>
    <dgm:cxn modelId="{EC5AA0C6-7700-4F0F-B267-C3F01AD4F50D}" type="presOf" srcId="{3532AB6A-91A0-4A7F-8F9A-6E8B10F57ED8}" destId="{A0E2C6B4-BD79-4940-82C3-CAD4E95E89E6}" srcOrd="0" destOrd="0" presId="urn:microsoft.com/office/officeart/2008/layout/HexagonCluster"/>
    <dgm:cxn modelId="{86EB7ECD-FFF5-4BA7-982A-137D9C2D7167}" type="presOf" srcId="{8A789E7F-158E-486B-88F5-4D9CD5E3E3B8}" destId="{1C41DA70-9506-4188-93DC-7E79F86CC583}" srcOrd="0" destOrd="0" presId="urn:microsoft.com/office/officeart/2008/layout/HexagonCluster"/>
    <dgm:cxn modelId="{2DF710D8-453C-4F5C-B75D-2431621C8D5F}" type="presOf" srcId="{81E82FC0-5104-4CE2-BD76-D7F64EB613EA}" destId="{E918D9D4-0D01-4EDE-BB8C-0DF19FA121DE}" srcOrd="0" destOrd="0" presId="urn:microsoft.com/office/officeart/2008/layout/HexagonCluster"/>
    <dgm:cxn modelId="{99DCDADC-E217-4403-8EF9-3B16B2396188}" srcId="{EE5E5264-5761-4251-8150-D207B493791B}" destId="{AA0B2D6B-B69A-4E47-A478-93C48AEA6E62}" srcOrd="2" destOrd="0" parTransId="{30EB7719-17AD-4468-8EAE-378361AD735B}" sibTransId="{092E2DB0-40A8-49EC-B2CD-CC63E1F89BA7}"/>
    <dgm:cxn modelId="{D752AFE0-201D-4F92-B37A-BBECADBDDCF0}" type="presOf" srcId="{07C7F930-DECA-4FA9-AC06-6B679763CD44}" destId="{A340EBD6-0F5A-4FD9-B801-ED3F22745887}" srcOrd="0" destOrd="0" presId="urn:microsoft.com/office/officeart/2008/layout/HexagonCluster"/>
    <dgm:cxn modelId="{BA7EC4E0-7BB2-4E90-9BE3-2D543CF3FE79}" srcId="{EE5E5264-5761-4251-8150-D207B493791B}" destId="{CCB8EAD0-B602-4E33-8000-6821652525FB}" srcOrd="4" destOrd="0" parTransId="{08404FE1-0E05-4F7E-98C0-240D1DDA0466}" sibTransId="{36AC8864-433C-4395-ABEE-0C9455A51D2D}"/>
    <dgm:cxn modelId="{8A5609E8-88ED-4205-AFD1-FF09F933EDD0}" type="presOf" srcId="{CCB8EAD0-B602-4E33-8000-6821652525FB}" destId="{13B7B340-F8E5-4C29-A021-4B1482D353E7}" srcOrd="0" destOrd="0" presId="urn:microsoft.com/office/officeart/2008/layout/HexagonCluster"/>
    <dgm:cxn modelId="{E03D0AF8-9338-4D92-95ED-1515E707BDF9}" type="presOf" srcId="{276333FF-4B8B-4D3D-B39F-F92EB21905E0}" destId="{640F4AD2-7879-408A-BB7F-6B74244DB68D}" srcOrd="0" destOrd="0" presId="urn:microsoft.com/office/officeart/2008/layout/HexagonCluster"/>
    <dgm:cxn modelId="{674C46F8-D4B0-486D-B301-0E0D53594E6E}" type="presOf" srcId="{21FA824B-1CC8-4CEC-A926-03875C6BDEFE}" destId="{32EB963E-0379-4DD0-B813-EFDCE80DD2EA}" srcOrd="0" destOrd="0" presId="urn:microsoft.com/office/officeart/2008/layout/HexagonCluster"/>
    <dgm:cxn modelId="{A1F2C6F8-F992-44B8-AF98-E5B7B8C9A70B}" type="presOf" srcId="{72459274-B1EA-40AF-9725-C72A0353EF8C}" destId="{E684A890-FC49-459B-BA63-9A78443609EC}" srcOrd="0" destOrd="0" presId="urn:microsoft.com/office/officeart/2008/layout/HexagonCluster"/>
    <dgm:cxn modelId="{0D35B4FF-E45E-4222-9AA6-1818AC4A64D6}" type="presOf" srcId="{1EA40924-5493-4157-9FD3-05B5A05015C4}" destId="{240F245C-AAB4-4560-8F6F-C90DE70E2E32}" srcOrd="0" destOrd="0" presId="urn:microsoft.com/office/officeart/2008/layout/HexagonCluster"/>
    <dgm:cxn modelId="{5553C4D1-CC99-4A61-B965-13C46F755EA7}" type="presParOf" srcId="{B6875DDF-D8F6-408F-BCC0-75D6D005432E}" destId="{861A02D1-D404-46D2-B657-110CD29FFC6A}" srcOrd="0" destOrd="0" presId="urn:microsoft.com/office/officeart/2008/layout/HexagonCluster"/>
    <dgm:cxn modelId="{C8672284-EA2E-415B-B3E8-2C3A7ED5457E}" type="presParOf" srcId="{861A02D1-D404-46D2-B657-110CD29FFC6A}" destId="{E7EE932D-2728-4997-92ED-43E386DA0EAE}" srcOrd="0" destOrd="0" presId="urn:microsoft.com/office/officeart/2008/layout/HexagonCluster"/>
    <dgm:cxn modelId="{A92A985B-9949-4D4F-8204-31659BE4B756}" type="presParOf" srcId="{B6875DDF-D8F6-408F-BCC0-75D6D005432E}" destId="{DFE7048F-C2D7-43DA-9ED4-862F31FA751C}" srcOrd="1" destOrd="0" presId="urn:microsoft.com/office/officeart/2008/layout/HexagonCluster"/>
    <dgm:cxn modelId="{4D0A38FF-9100-4827-9C74-B54947FA01CB}" type="presParOf" srcId="{DFE7048F-C2D7-43DA-9ED4-862F31FA751C}" destId="{63D43688-FC36-4A38-89F2-D2A1C43046D3}" srcOrd="0" destOrd="0" presId="urn:microsoft.com/office/officeart/2008/layout/HexagonCluster"/>
    <dgm:cxn modelId="{FAEA3B77-A3B9-4895-9645-D4BFAB87AFAA}" type="presParOf" srcId="{B6875DDF-D8F6-408F-BCC0-75D6D005432E}" destId="{52E0FBCA-C7E7-4E8B-BD76-DE564C226CAA}" srcOrd="2" destOrd="0" presId="urn:microsoft.com/office/officeart/2008/layout/HexagonCluster"/>
    <dgm:cxn modelId="{840A010B-8926-41EC-B16E-97F22EAEE4B7}" type="presParOf" srcId="{52E0FBCA-C7E7-4E8B-BD76-DE564C226CAA}" destId="{1C41DA70-9506-4188-93DC-7E79F86CC583}" srcOrd="0" destOrd="0" presId="urn:microsoft.com/office/officeart/2008/layout/HexagonCluster"/>
    <dgm:cxn modelId="{A0138559-660D-4F9B-8AD5-30E0568ACFEF}" type="presParOf" srcId="{B6875DDF-D8F6-408F-BCC0-75D6D005432E}" destId="{E64ECFEB-81C9-441A-AC68-18201E37CC59}" srcOrd="3" destOrd="0" presId="urn:microsoft.com/office/officeart/2008/layout/HexagonCluster"/>
    <dgm:cxn modelId="{C19A52A4-7862-4D3C-B2E5-E405AAE84C00}" type="presParOf" srcId="{E64ECFEB-81C9-441A-AC68-18201E37CC59}" destId="{48A8BDCF-3811-4578-A055-D84DB92B9407}" srcOrd="0" destOrd="0" presId="urn:microsoft.com/office/officeart/2008/layout/HexagonCluster"/>
    <dgm:cxn modelId="{D37F6953-5CF9-4AD5-89D2-899187379B0E}" type="presParOf" srcId="{B6875DDF-D8F6-408F-BCC0-75D6D005432E}" destId="{0CA5CE6C-EF55-4E19-BA7B-C0A143B2C6E0}" srcOrd="4" destOrd="0" presId="urn:microsoft.com/office/officeart/2008/layout/HexagonCluster"/>
    <dgm:cxn modelId="{B0366853-173A-4871-9791-F4F8B92A8DDE}" type="presParOf" srcId="{0CA5CE6C-EF55-4E19-BA7B-C0A143B2C6E0}" destId="{DC9C266E-E780-4BA7-8D0A-B05BA60BD7C4}" srcOrd="0" destOrd="0" presId="urn:microsoft.com/office/officeart/2008/layout/HexagonCluster"/>
    <dgm:cxn modelId="{6E45572A-87DA-437C-97B1-36C58377FA16}" type="presParOf" srcId="{B6875DDF-D8F6-408F-BCC0-75D6D005432E}" destId="{A4357E02-2BB5-4FB6-9C75-288C865E5D70}" srcOrd="5" destOrd="0" presId="urn:microsoft.com/office/officeart/2008/layout/HexagonCluster"/>
    <dgm:cxn modelId="{70BB81DE-2AE4-4417-9D33-E1DE9615196C}" type="presParOf" srcId="{A4357E02-2BB5-4FB6-9C75-288C865E5D70}" destId="{609769C6-1249-4573-984E-A63195590CFB}" srcOrd="0" destOrd="0" presId="urn:microsoft.com/office/officeart/2008/layout/HexagonCluster"/>
    <dgm:cxn modelId="{0D2C241C-D4B0-494B-A058-41B3A010349E}" type="presParOf" srcId="{B6875DDF-D8F6-408F-BCC0-75D6D005432E}" destId="{C584493A-FCD4-4E04-88D7-124DBAFD6CCA}" srcOrd="6" destOrd="0" presId="urn:microsoft.com/office/officeart/2008/layout/HexagonCluster"/>
    <dgm:cxn modelId="{7F89779D-3C3A-49B6-9A17-F0EE7E8D393B}" type="presParOf" srcId="{C584493A-FCD4-4E04-88D7-124DBAFD6CCA}" destId="{53B93DFA-8BC3-4A0A-9DC1-E63791BF7FE8}" srcOrd="0" destOrd="0" presId="urn:microsoft.com/office/officeart/2008/layout/HexagonCluster"/>
    <dgm:cxn modelId="{A0303CF1-49E2-43DE-B52B-5338CD47E89D}" type="presParOf" srcId="{B6875DDF-D8F6-408F-BCC0-75D6D005432E}" destId="{85B07355-8A0D-436C-9F17-3CBE8DF902C8}" srcOrd="7" destOrd="0" presId="urn:microsoft.com/office/officeart/2008/layout/HexagonCluster"/>
    <dgm:cxn modelId="{AEEF8EDB-02E9-4492-9325-3677D611613E}" type="presParOf" srcId="{85B07355-8A0D-436C-9F17-3CBE8DF902C8}" destId="{DB961D28-2217-4DE4-B97C-4DC1396CA7DB}" srcOrd="0" destOrd="0" presId="urn:microsoft.com/office/officeart/2008/layout/HexagonCluster"/>
    <dgm:cxn modelId="{071188F0-E3F3-4C1F-8AB4-3F4479E41C06}" type="presParOf" srcId="{B6875DDF-D8F6-408F-BCC0-75D6D005432E}" destId="{101DF09B-B0FA-4546-8C81-2EB3601D80C4}" srcOrd="8" destOrd="0" presId="urn:microsoft.com/office/officeart/2008/layout/HexagonCluster"/>
    <dgm:cxn modelId="{625737E9-90A2-45BB-A9AD-3A628F2D3498}" type="presParOf" srcId="{101DF09B-B0FA-4546-8C81-2EB3601D80C4}" destId="{BBB03AD1-F5E9-4A4C-9592-424956785DB6}" srcOrd="0" destOrd="0" presId="urn:microsoft.com/office/officeart/2008/layout/HexagonCluster"/>
    <dgm:cxn modelId="{3F97F37E-F4B1-4F5F-8A79-2AFC98197DE7}" type="presParOf" srcId="{B6875DDF-D8F6-408F-BCC0-75D6D005432E}" destId="{D74128A1-8542-4B1A-ADF4-7FC2A701A5BE}" srcOrd="9" destOrd="0" presId="urn:microsoft.com/office/officeart/2008/layout/HexagonCluster"/>
    <dgm:cxn modelId="{0094C4EE-3E2F-4279-9FD1-A30A02D59BD1}" type="presParOf" srcId="{D74128A1-8542-4B1A-ADF4-7FC2A701A5BE}" destId="{70327323-4351-4B5C-B43C-7AA0C0E30171}" srcOrd="0" destOrd="0" presId="urn:microsoft.com/office/officeart/2008/layout/HexagonCluster"/>
    <dgm:cxn modelId="{C571AF9D-C6FD-4A8C-B606-932CE4B1A55A}" type="presParOf" srcId="{B6875DDF-D8F6-408F-BCC0-75D6D005432E}" destId="{0E7D7ED5-3188-41E5-81C6-DA8D1E956CCB}" srcOrd="10" destOrd="0" presId="urn:microsoft.com/office/officeart/2008/layout/HexagonCluster"/>
    <dgm:cxn modelId="{D63C2614-3C51-4DF5-8FDF-23340A183D01}" type="presParOf" srcId="{0E7D7ED5-3188-41E5-81C6-DA8D1E956CCB}" destId="{DDFB18D4-C0AC-4750-8997-ECC516139BFD}" srcOrd="0" destOrd="0" presId="urn:microsoft.com/office/officeart/2008/layout/HexagonCluster"/>
    <dgm:cxn modelId="{1C53DC45-CB99-4A46-BBF2-0E8D22040540}" type="presParOf" srcId="{B6875DDF-D8F6-408F-BCC0-75D6D005432E}" destId="{9F3E2DBF-CC7D-487C-81E5-DDF7F2AE473A}" srcOrd="11" destOrd="0" presId="urn:microsoft.com/office/officeart/2008/layout/HexagonCluster"/>
    <dgm:cxn modelId="{4855A726-CD89-403E-83B6-B77AE3CBA59D}" type="presParOf" srcId="{9F3E2DBF-CC7D-487C-81E5-DDF7F2AE473A}" destId="{E825122D-D657-4FF5-A792-7F4DBBEBE9E7}" srcOrd="0" destOrd="0" presId="urn:microsoft.com/office/officeart/2008/layout/HexagonCluster"/>
    <dgm:cxn modelId="{DD2BE3FD-5944-4621-B6ED-821D9CA9B5F8}" type="presParOf" srcId="{B6875DDF-D8F6-408F-BCC0-75D6D005432E}" destId="{F2BBC7D7-CCC8-4EB6-8AAE-B44CC122F566}" srcOrd="12" destOrd="0" presId="urn:microsoft.com/office/officeart/2008/layout/HexagonCluster"/>
    <dgm:cxn modelId="{D83B91E2-8717-4133-B2A8-A8A8FC360BC4}" type="presParOf" srcId="{F2BBC7D7-CCC8-4EB6-8AAE-B44CC122F566}" destId="{E684A890-FC49-459B-BA63-9A78443609EC}" srcOrd="0" destOrd="0" presId="urn:microsoft.com/office/officeart/2008/layout/HexagonCluster"/>
    <dgm:cxn modelId="{2538D25A-B81A-4F4D-9902-42EBAD824637}" type="presParOf" srcId="{B6875DDF-D8F6-408F-BCC0-75D6D005432E}" destId="{69DEE377-57E7-41ED-A952-FD25DD7AEED8}" srcOrd="13" destOrd="0" presId="urn:microsoft.com/office/officeart/2008/layout/HexagonCluster"/>
    <dgm:cxn modelId="{502C5006-692F-4910-BE48-34C91133785F}" type="presParOf" srcId="{69DEE377-57E7-41ED-A952-FD25DD7AEED8}" destId="{5E052CA5-92E9-4BEB-AFC1-2A3FFC36B094}" srcOrd="0" destOrd="0" presId="urn:microsoft.com/office/officeart/2008/layout/HexagonCluster"/>
    <dgm:cxn modelId="{EFDC7550-0AD7-46A6-9DB8-0792A77C5726}" type="presParOf" srcId="{B6875DDF-D8F6-408F-BCC0-75D6D005432E}" destId="{5A990646-3C6E-4631-91D4-0B30B6C88909}" srcOrd="14" destOrd="0" presId="urn:microsoft.com/office/officeart/2008/layout/HexagonCluster"/>
    <dgm:cxn modelId="{67E01B25-C87F-40B3-805F-CC4FFC81410F}" type="presParOf" srcId="{5A990646-3C6E-4631-91D4-0B30B6C88909}" destId="{9C80A02B-BDA8-44ED-863A-34C9461C828C}" srcOrd="0" destOrd="0" presId="urn:microsoft.com/office/officeart/2008/layout/HexagonCluster"/>
    <dgm:cxn modelId="{7CF229F0-668A-436E-B112-42A1F9AA09FD}" type="presParOf" srcId="{B6875DDF-D8F6-408F-BCC0-75D6D005432E}" destId="{1A14D9F5-BEFB-4D78-89AD-61DC2F3ED3B4}" srcOrd="15" destOrd="0" presId="urn:microsoft.com/office/officeart/2008/layout/HexagonCluster"/>
    <dgm:cxn modelId="{25AE791B-6C61-4C32-8B05-6360D711FA4D}" type="presParOf" srcId="{1A14D9F5-BEFB-4D78-89AD-61DC2F3ED3B4}" destId="{ACEE7816-3256-400C-BABC-B0931EA63701}" srcOrd="0" destOrd="0" presId="urn:microsoft.com/office/officeart/2008/layout/HexagonCluster"/>
    <dgm:cxn modelId="{6C7BF280-CE4C-42A4-9DA1-D531DBA1C74B}" type="presParOf" srcId="{B6875DDF-D8F6-408F-BCC0-75D6D005432E}" destId="{C3F4C208-3C9C-4799-AC45-9E578E207264}" srcOrd="16" destOrd="0" presId="urn:microsoft.com/office/officeart/2008/layout/HexagonCluster"/>
    <dgm:cxn modelId="{3AA35645-49FC-4AD8-9BB5-442497C3E44C}" type="presParOf" srcId="{C3F4C208-3C9C-4799-AC45-9E578E207264}" destId="{13B7B340-F8E5-4C29-A021-4B1482D353E7}" srcOrd="0" destOrd="0" presId="urn:microsoft.com/office/officeart/2008/layout/HexagonCluster"/>
    <dgm:cxn modelId="{A2FD1ACE-D9CC-48B0-A9A6-FEF599FC2C10}" type="presParOf" srcId="{B6875DDF-D8F6-408F-BCC0-75D6D005432E}" destId="{88918471-7910-4DAF-A77E-2D3AFB5A8EB7}" srcOrd="17" destOrd="0" presId="urn:microsoft.com/office/officeart/2008/layout/HexagonCluster"/>
    <dgm:cxn modelId="{E1DFEA40-B8AD-40E5-8E66-A523E7A7B20B}" type="presParOf" srcId="{88918471-7910-4DAF-A77E-2D3AFB5A8EB7}" destId="{CF85FA35-DDA9-4B70-88B1-CBD87863F49F}" srcOrd="0" destOrd="0" presId="urn:microsoft.com/office/officeart/2008/layout/HexagonCluster"/>
    <dgm:cxn modelId="{F12BCDEF-CB11-4F77-AF5A-29880940676D}" type="presParOf" srcId="{B6875DDF-D8F6-408F-BCC0-75D6D005432E}" destId="{054941BA-153E-4299-8553-2BCF96D58A73}" srcOrd="18" destOrd="0" presId="urn:microsoft.com/office/officeart/2008/layout/HexagonCluster"/>
    <dgm:cxn modelId="{111CA5D0-CF6F-41CF-8070-73AC6E685937}" type="presParOf" srcId="{054941BA-153E-4299-8553-2BCF96D58A73}" destId="{8657FEAF-BC90-4111-A662-DAAD08330E65}" srcOrd="0" destOrd="0" presId="urn:microsoft.com/office/officeart/2008/layout/HexagonCluster"/>
    <dgm:cxn modelId="{63A1DC2D-9EF4-4E3F-92EE-8FC37E67F077}" type="presParOf" srcId="{B6875DDF-D8F6-408F-BCC0-75D6D005432E}" destId="{D81AB551-FCA2-4808-8D4F-9FADE899FB04}" srcOrd="19" destOrd="0" presId="urn:microsoft.com/office/officeart/2008/layout/HexagonCluster"/>
    <dgm:cxn modelId="{5384870D-9394-4796-A2C9-D60C5C7FF0C8}" type="presParOf" srcId="{D81AB551-FCA2-4808-8D4F-9FADE899FB04}" destId="{662B85AD-98FC-4D85-9A66-C8B0DAAA1327}" srcOrd="0" destOrd="0" presId="urn:microsoft.com/office/officeart/2008/layout/HexagonCluster"/>
    <dgm:cxn modelId="{68658E9B-8437-4383-9B62-DAA9BECE6AC5}" type="presParOf" srcId="{B6875DDF-D8F6-408F-BCC0-75D6D005432E}" destId="{EC09B485-BC33-48B1-9ED1-E1A8BC00CA59}" srcOrd="20" destOrd="0" presId="urn:microsoft.com/office/officeart/2008/layout/HexagonCluster"/>
    <dgm:cxn modelId="{0CADC487-576E-44A8-88BE-6A3DC13ECA28}" type="presParOf" srcId="{EC09B485-BC33-48B1-9ED1-E1A8BC00CA59}" destId="{EAF3F542-0C07-4AA4-9ECF-92843CE62334}" srcOrd="0" destOrd="0" presId="urn:microsoft.com/office/officeart/2008/layout/HexagonCluster"/>
    <dgm:cxn modelId="{646774A3-D5CD-4E9A-A1C5-B867293F9E5F}" type="presParOf" srcId="{B6875DDF-D8F6-408F-BCC0-75D6D005432E}" destId="{A150CFD0-C3F7-4D0C-B600-7E028192B245}" srcOrd="21" destOrd="0" presId="urn:microsoft.com/office/officeart/2008/layout/HexagonCluster"/>
    <dgm:cxn modelId="{614C33B6-D7EA-4117-9288-410C91FE3AC7}" type="presParOf" srcId="{A150CFD0-C3F7-4D0C-B600-7E028192B245}" destId="{311832C1-9766-49DE-B17A-28AD5A1DFE7B}" srcOrd="0" destOrd="0" presId="urn:microsoft.com/office/officeart/2008/layout/HexagonCluster"/>
    <dgm:cxn modelId="{78A11BB6-7AC0-4F07-95B1-AD47C76162E7}" type="presParOf" srcId="{B6875DDF-D8F6-408F-BCC0-75D6D005432E}" destId="{1979AED6-41BA-43E1-9B11-16C9131C10C3}" srcOrd="22" destOrd="0" presId="urn:microsoft.com/office/officeart/2008/layout/HexagonCluster"/>
    <dgm:cxn modelId="{957B04C1-F033-42EF-9863-7C3FBD8701EB}" type="presParOf" srcId="{1979AED6-41BA-43E1-9B11-16C9131C10C3}" destId="{E5833038-1CD4-42EB-A3AB-4584AB07B99A}" srcOrd="0" destOrd="0" presId="urn:microsoft.com/office/officeart/2008/layout/HexagonCluster"/>
    <dgm:cxn modelId="{CEEB0F4B-DF48-4CA7-8345-50FCB43589AE}" type="presParOf" srcId="{B6875DDF-D8F6-408F-BCC0-75D6D005432E}" destId="{D00F954D-2A5B-47E2-B293-20A48A1D3587}" srcOrd="23" destOrd="0" presId="urn:microsoft.com/office/officeart/2008/layout/HexagonCluster"/>
    <dgm:cxn modelId="{D9E1F52D-6A2A-454F-9111-32B0A5DB6FAD}" type="presParOf" srcId="{D00F954D-2A5B-47E2-B293-20A48A1D3587}" destId="{E604335D-A693-4E39-AE9B-A0045A336EF4}" srcOrd="0" destOrd="0" presId="urn:microsoft.com/office/officeart/2008/layout/HexagonCluster"/>
    <dgm:cxn modelId="{86830039-5906-4E9D-963F-5F5D825A2DE1}" type="presParOf" srcId="{B6875DDF-D8F6-408F-BCC0-75D6D005432E}" destId="{DCD58364-9079-4647-ACA0-6839332F066C}" srcOrd="24" destOrd="0" presId="urn:microsoft.com/office/officeart/2008/layout/HexagonCluster"/>
    <dgm:cxn modelId="{FCF7EF58-0C62-4787-88AA-81972917AD99}" type="presParOf" srcId="{DCD58364-9079-4647-ACA0-6839332F066C}" destId="{640F4AD2-7879-408A-BB7F-6B74244DB68D}" srcOrd="0" destOrd="0" presId="urn:microsoft.com/office/officeart/2008/layout/HexagonCluster"/>
    <dgm:cxn modelId="{022F796E-842A-421A-8A7F-AFF4510FCC73}" type="presParOf" srcId="{B6875DDF-D8F6-408F-BCC0-75D6D005432E}" destId="{B97D1954-E6EE-4CCB-AB10-E9C32799224D}" srcOrd="25" destOrd="0" presId="urn:microsoft.com/office/officeart/2008/layout/HexagonCluster"/>
    <dgm:cxn modelId="{FEC6BA91-16D7-44F3-B6C0-B661326D0F6F}" type="presParOf" srcId="{B97D1954-E6EE-4CCB-AB10-E9C32799224D}" destId="{E90D6C61-8917-4816-AB06-701F22EF2922}" srcOrd="0" destOrd="0" presId="urn:microsoft.com/office/officeart/2008/layout/HexagonCluster"/>
    <dgm:cxn modelId="{817563ED-552C-4F4D-B1D6-3A576229D739}" type="presParOf" srcId="{B6875DDF-D8F6-408F-BCC0-75D6D005432E}" destId="{957517B7-5945-439F-890F-9F9D507CF52C}" srcOrd="26" destOrd="0" presId="urn:microsoft.com/office/officeart/2008/layout/HexagonCluster"/>
    <dgm:cxn modelId="{DC4FF395-FB86-417C-BEFC-814D7CC15AAB}" type="presParOf" srcId="{957517B7-5945-439F-890F-9F9D507CF52C}" destId="{AD026414-C41F-4C76-A37C-3F38051D4FFD}" srcOrd="0" destOrd="0" presId="urn:microsoft.com/office/officeart/2008/layout/HexagonCluster"/>
    <dgm:cxn modelId="{40F10E4F-D865-4EC7-97FE-DB7648099E08}" type="presParOf" srcId="{B6875DDF-D8F6-408F-BCC0-75D6D005432E}" destId="{99CF3BC2-41B2-4668-83B4-849D42B9DF12}" srcOrd="27" destOrd="0" presId="urn:microsoft.com/office/officeart/2008/layout/HexagonCluster"/>
    <dgm:cxn modelId="{37DCC191-7133-49FD-8F1C-5AB86E32EBD8}" type="presParOf" srcId="{99CF3BC2-41B2-4668-83B4-849D42B9DF12}" destId="{2A258D54-F8C3-48AD-881E-5C79B911A2CA}" srcOrd="0" destOrd="0" presId="urn:microsoft.com/office/officeart/2008/layout/HexagonCluster"/>
    <dgm:cxn modelId="{41A997F4-0D11-4D7A-BEAD-68640317B062}" type="presParOf" srcId="{B6875DDF-D8F6-408F-BCC0-75D6D005432E}" destId="{B6AD7D74-B2FD-443E-AA70-E82761978B46}" srcOrd="28" destOrd="0" presId="urn:microsoft.com/office/officeart/2008/layout/HexagonCluster"/>
    <dgm:cxn modelId="{B3BA006F-2863-455C-A5CE-53154BAB60EA}" type="presParOf" srcId="{B6AD7D74-B2FD-443E-AA70-E82761978B46}" destId="{A0E2C6B4-BD79-4940-82C3-CAD4E95E89E6}" srcOrd="0" destOrd="0" presId="urn:microsoft.com/office/officeart/2008/layout/HexagonCluster"/>
    <dgm:cxn modelId="{75D3B4B8-9458-4289-A09E-3862B49C88A0}" type="presParOf" srcId="{B6875DDF-D8F6-408F-BCC0-75D6D005432E}" destId="{7952483F-02C2-4BFA-966E-C762CB647BB9}" srcOrd="29" destOrd="0" presId="urn:microsoft.com/office/officeart/2008/layout/HexagonCluster"/>
    <dgm:cxn modelId="{76BF456A-3226-4AA1-AD23-B54A27EA9973}" type="presParOf" srcId="{7952483F-02C2-4BFA-966E-C762CB647BB9}" destId="{B89A3211-A247-4C38-AF0C-5A6D3B67C4CA}" srcOrd="0" destOrd="0" presId="urn:microsoft.com/office/officeart/2008/layout/HexagonCluster"/>
    <dgm:cxn modelId="{63D814C5-B320-4DBF-B50F-4AE2E20A2C95}" type="presParOf" srcId="{B6875DDF-D8F6-408F-BCC0-75D6D005432E}" destId="{5EA0C92D-AC65-4D1C-A03B-38140E164936}" srcOrd="30" destOrd="0" presId="urn:microsoft.com/office/officeart/2008/layout/HexagonCluster"/>
    <dgm:cxn modelId="{526A440C-A6E9-4465-8EC1-6CC03EB99376}" type="presParOf" srcId="{5EA0C92D-AC65-4D1C-A03B-38140E164936}" destId="{D3E902E1-9D68-4269-AE32-48A1F7AA02FF}" srcOrd="0" destOrd="0" presId="urn:microsoft.com/office/officeart/2008/layout/HexagonCluster"/>
    <dgm:cxn modelId="{3C7E39D8-2173-4346-908E-4DB35D5F53AC}" type="presParOf" srcId="{B6875DDF-D8F6-408F-BCC0-75D6D005432E}" destId="{6533E26B-60A7-41C8-9ACA-B51837E79703}" srcOrd="31" destOrd="0" presId="urn:microsoft.com/office/officeart/2008/layout/HexagonCluster"/>
    <dgm:cxn modelId="{B02FE614-E18E-435B-A809-C09585373338}" type="presParOf" srcId="{6533E26B-60A7-41C8-9ACA-B51837E79703}" destId="{485A5834-30E3-4AF4-AF99-71A91564CCFB}" srcOrd="0" destOrd="0" presId="urn:microsoft.com/office/officeart/2008/layout/HexagonCluster"/>
    <dgm:cxn modelId="{CE960CF1-228C-49F2-8083-785974E1366A}" type="presParOf" srcId="{B6875DDF-D8F6-408F-BCC0-75D6D005432E}" destId="{5FE73C69-DC4A-4253-B555-5537DC99BC6C}" srcOrd="32" destOrd="0" presId="urn:microsoft.com/office/officeart/2008/layout/HexagonCluster"/>
    <dgm:cxn modelId="{6ECEC43F-571F-4FC9-B9B8-1CB3A3252933}" type="presParOf" srcId="{5FE73C69-DC4A-4253-B555-5537DC99BC6C}" destId="{E918D9D4-0D01-4EDE-BB8C-0DF19FA121DE}" srcOrd="0" destOrd="0" presId="urn:microsoft.com/office/officeart/2008/layout/HexagonCluster"/>
    <dgm:cxn modelId="{109E60E7-0A0F-4FB2-90D0-F0DB5FD6391C}" type="presParOf" srcId="{B6875DDF-D8F6-408F-BCC0-75D6D005432E}" destId="{FBF4168F-4D0C-4BC0-8F33-10CBBE543F87}" srcOrd="33" destOrd="0" presId="urn:microsoft.com/office/officeart/2008/layout/HexagonCluster"/>
    <dgm:cxn modelId="{C0FAF22A-C808-4794-9605-E73D44A76A40}" type="presParOf" srcId="{FBF4168F-4D0C-4BC0-8F33-10CBBE543F87}" destId="{C27D75F8-5692-4294-AEA5-8C3598E407BF}" srcOrd="0" destOrd="0" presId="urn:microsoft.com/office/officeart/2008/layout/HexagonCluster"/>
    <dgm:cxn modelId="{F3364DFA-EE7B-4087-A4EE-C01383AE74A0}" type="presParOf" srcId="{B6875DDF-D8F6-408F-BCC0-75D6D005432E}" destId="{8A9B3B7C-3582-4A23-9058-BA0D1BB0ED26}" srcOrd="34" destOrd="0" presId="urn:microsoft.com/office/officeart/2008/layout/HexagonCluster"/>
    <dgm:cxn modelId="{3F11AFCE-F765-462D-988D-6F3B6514AD97}" type="presParOf" srcId="{8A9B3B7C-3582-4A23-9058-BA0D1BB0ED26}" destId="{490A078E-2BD4-4C3F-9F38-028BBBDB607D}" srcOrd="0" destOrd="0" presId="urn:microsoft.com/office/officeart/2008/layout/HexagonCluster"/>
    <dgm:cxn modelId="{C14E4DDF-B12D-4C2A-B5E7-E88E9B8DC658}" type="presParOf" srcId="{B6875DDF-D8F6-408F-BCC0-75D6D005432E}" destId="{504C6F8E-6AEE-4CA7-AB36-07E2D5737447}" srcOrd="35" destOrd="0" presId="urn:microsoft.com/office/officeart/2008/layout/HexagonCluster"/>
    <dgm:cxn modelId="{29B55E23-186D-42DC-84B7-9345703132F8}" type="presParOf" srcId="{504C6F8E-6AEE-4CA7-AB36-07E2D5737447}" destId="{84C0D6E6-32CE-4022-AAF6-9FF4EC550F7F}" srcOrd="0" destOrd="0" presId="urn:microsoft.com/office/officeart/2008/layout/HexagonCluster"/>
    <dgm:cxn modelId="{73810177-7072-4CE3-A4D4-2AD94BA619BD}" type="presParOf" srcId="{B6875DDF-D8F6-408F-BCC0-75D6D005432E}" destId="{5B9DECA1-F557-4AD2-9FAC-1D8367F796AF}" srcOrd="36" destOrd="0" presId="urn:microsoft.com/office/officeart/2008/layout/HexagonCluster"/>
    <dgm:cxn modelId="{A7E50F25-41EF-44FC-BFF8-05B203020BA9}" type="presParOf" srcId="{5B9DECA1-F557-4AD2-9FAC-1D8367F796AF}" destId="{D0FFF254-8328-441E-A26A-67176DCFC253}" srcOrd="0" destOrd="0" presId="urn:microsoft.com/office/officeart/2008/layout/HexagonCluster"/>
    <dgm:cxn modelId="{5F5B11FB-F534-4D68-9DFB-937AA253A78E}" type="presParOf" srcId="{B6875DDF-D8F6-408F-BCC0-75D6D005432E}" destId="{78D86BA1-7DBB-4B94-A232-BB19FB3A6501}" srcOrd="37" destOrd="0" presId="urn:microsoft.com/office/officeart/2008/layout/HexagonCluster"/>
    <dgm:cxn modelId="{BAE7ACDE-DFF1-4A8A-9EFD-A0A068B1DF49}" type="presParOf" srcId="{78D86BA1-7DBB-4B94-A232-BB19FB3A6501}" destId="{D9E48257-7524-40BE-B79E-907DA39A59E2}" srcOrd="0" destOrd="0" presId="urn:microsoft.com/office/officeart/2008/layout/HexagonCluster"/>
    <dgm:cxn modelId="{1AA00277-9AD3-49EB-A94A-773A69BB501C}" type="presParOf" srcId="{B6875DDF-D8F6-408F-BCC0-75D6D005432E}" destId="{8BE03115-CDBE-4AB5-B5A0-4321BD4A9393}" srcOrd="38" destOrd="0" presId="urn:microsoft.com/office/officeart/2008/layout/HexagonCluster"/>
    <dgm:cxn modelId="{C78806C1-236B-4B7F-A4BD-D017DDBE725E}" type="presParOf" srcId="{8BE03115-CDBE-4AB5-B5A0-4321BD4A9393}" destId="{7BDAB4AB-CBAC-4C77-BA43-C9EE70B92AEF}" srcOrd="0" destOrd="0" presId="urn:microsoft.com/office/officeart/2008/layout/HexagonCluster"/>
    <dgm:cxn modelId="{7E46C4C1-3C32-49A6-8D5D-3E58CCB80056}" type="presParOf" srcId="{B6875DDF-D8F6-408F-BCC0-75D6D005432E}" destId="{63ADF900-79C8-448A-A956-378C6C76EC1A}" srcOrd="39" destOrd="0" presId="urn:microsoft.com/office/officeart/2008/layout/HexagonCluster"/>
    <dgm:cxn modelId="{D0B62F90-38D1-41A3-BD0B-D22B3726D38C}" type="presParOf" srcId="{63ADF900-79C8-448A-A956-378C6C76EC1A}" destId="{3EC58343-B15C-4EA4-AE31-3B5276FEE4F8}" srcOrd="0" destOrd="0" presId="urn:microsoft.com/office/officeart/2008/layout/HexagonCluster"/>
    <dgm:cxn modelId="{5EF65D36-7DA3-4635-8E9A-4BA4A5C8EBB0}" type="presParOf" srcId="{B6875DDF-D8F6-408F-BCC0-75D6D005432E}" destId="{1F59408A-40D1-4D32-8FDD-616E034ADEE2}" srcOrd="40" destOrd="0" presId="urn:microsoft.com/office/officeart/2008/layout/HexagonCluster"/>
    <dgm:cxn modelId="{997A6CCB-32CD-4C46-95F4-23F6F6B3BC60}" type="presParOf" srcId="{1F59408A-40D1-4D32-8FDD-616E034ADEE2}" destId="{32EB963E-0379-4DD0-B813-EFDCE80DD2EA}" srcOrd="0" destOrd="0" presId="urn:microsoft.com/office/officeart/2008/layout/HexagonCluster"/>
    <dgm:cxn modelId="{73BDE4B2-82BD-40EC-9CF0-30A78EE01C4F}" type="presParOf" srcId="{B6875DDF-D8F6-408F-BCC0-75D6D005432E}" destId="{6FEB27CB-0F18-43E6-B26E-D960100569E3}" srcOrd="41" destOrd="0" presId="urn:microsoft.com/office/officeart/2008/layout/HexagonCluster"/>
    <dgm:cxn modelId="{FE9E1829-B5C3-4081-9155-38DEF86BA923}" type="presParOf" srcId="{6FEB27CB-0F18-43E6-B26E-D960100569E3}" destId="{02D37C0A-3756-4D5E-9837-3E67388337C0}" srcOrd="0" destOrd="0" presId="urn:microsoft.com/office/officeart/2008/layout/HexagonCluster"/>
    <dgm:cxn modelId="{1B4DB998-6E5A-4940-89C0-2F306E66810A}" type="presParOf" srcId="{B6875DDF-D8F6-408F-BCC0-75D6D005432E}" destId="{0FF1B882-3D7A-438E-96DC-5EF9F1F3B810}" srcOrd="42" destOrd="0" presId="urn:microsoft.com/office/officeart/2008/layout/HexagonCluster"/>
    <dgm:cxn modelId="{1D9B060D-D176-4D1E-9768-78477C0C97E7}" type="presParOf" srcId="{0FF1B882-3D7A-438E-96DC-5EF9F1F3B810}" destId="{A340EBD6-0F5A-4FD9-B801-ED3F22745887}" srcOrd="0" destOrd="0" presId="urn:microsoft.com/office/officeart/2008/layout/HexagonCluster"/>
    <dgm:cxn modelId="{34929204-CE01-416F-8A05-1B4903C934FA}" type="presParOf" srcId="{B6875DDF-D8F6-408F-BCC0-75D6D005432E}" destId="{96C703FB-3BB4-4DE6-809F-A3F38087BB24}" srcOrd="43" destOrd="0" presId="urn:microsoft.com/office/officeart/2008/layout/HexagonCluster"/>
    <dgm:cxn modelId="{68CBA285-DDC3-44E2-BDA3-CBACFB7D9B15}" type="presParOf" srcId="{96C703FB-3BB4-4DE6-809F-A3F38087BB24}" destId="{A197F4C8-2C1D-4AD2-AA18-D07DDD149DF0}" srcOrd="0" destOrd="0" presId="urn:microsoft.com/office/officeart/2008/layout/HexagonCluster"/>
    <dgm:cxn modelId="{4B0AF01A-E47C-44D3-A7E5-5A16880323A0}" type="presParOf" srcId="{B6875DDF-D8F6-408F-BCC0-75D6D005432E}" destId="{CC469ED8-6DAF-492E-82DF-AA2472BA210E}" srcOrd="44" destOrd="0" presId="urn:microsoft.com/office/officeart/2008/layout/HexagonCluster"/>
    <dgm:cxn modelId="{42944460-B853-4E4A-9DB7-90576783187A}" type="presParOf" srcId="{CC469ED8-6DAF-492E-82DF-AA2472BA210E}" destId="{240F245C-AAB4-4560-8F6F-C90DE70E2E32}" srcOrd="0" destOrd="0" presId="urn:microsoft.com/office/officeart/2008/layout/HexagonCluster"/>
    <dgm:cxn modelId="{0A20B5FC-1AE0-4FD7-9B54-B85CA7C1457A}" type="presParOf" srcId="{B6875DDF-D8F6-408F-BCC0-75D6D005432E}" destId="{C59D5CDF-C7A3-470F-A168-E8243F472094}" srcOrd="45" destOrd="0" presId="urn:microsoft.com/office/officeart/2008/layout/HexagonCluster"/>
    <dgm:cxn modelId="{5B92837B-A756-4178-AA5B-45421FD3E5AF}" type="presParOf" srcId="{C59D5CDF-C7A3-470F-A168-E8243F472094}" destId="{F241B9F9-54FB-4C12-9D06-AAB4B2D03393}" srcOrd="0" destOrd="0" presId="urn:microsoft.com/office/officeart/2008/layout/HexagonCluster"/>
    <dgm:cxn modelId="{C8BD6B27-F4D4-4D7B-A5E5-CF9AFE061BD9}" type="presParOf" srcId="{B6875DDF-D8F6-408F-BCC0-75D6D005432E}" destId="{981C944A-64C4-44B3-B7A0-DD2129FF6FCE}" srcOrd="46" destOrd="0" presId="urn:microsoft.com/office/officeart/2008/layout/HexagonCluster"/>
    <dgm:cxn modelId="{6C4EEC2C-C0C9-4844-BC33-C75028C68988}" type="presParOf" srcId="{981C944A-64C4-44B3-B7A0-DD2129FF6FCE}" destId="{8477754A-3975-4780-BFC3-BD2E155BE6C0}" srcOrd="0" destOrd="0" presId="urn:microsoft.com/office/officeart/2008/layout/HexagonCluster"/>
    <dgm:cxn modelId="{C1BAE22E-6367-4477-9809-0331034DD555}" type="presParOf" srcId="{B6875DDF-D8F6-408F-BCC0-75D6D005432E}" destId="{499D21C4-5899-4ABE-BB7E-C25128316119}" srcOrd="47" destOrd="0" presId="urn:microsoft.com/office/officeart/2008/layout/HexagonCluster"/>
    <dgm:cxn modelId="{66ACB2D6-39FC-4BC0-9EEB-A33FC0FDB181}" type="presParOf" srcId="{499D21C4-5899-4ABE-BB7E-C25128316119}" destId="{0FB848D2-119E-4837-BE54-35A12CFA4A9B}" srcOrd="0" destOrd="0" presId="urn:microsoft.com/office/officeart/2008/layout/HexagonCluster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6EBFC6-0586-438D-B979-8F54485D15B4}">
      <dsp:nvSpPr>
        <dsp:cNvPr id="0" name=""/>
        <dsp:cNvSpPr/>
      </dsp:nvSpPr>
      <dsp:spPr>
        <a:xfrm rot="5400000">
          <a:off x="3160306" y="-1051420"/>
          <a:ext cx="1112825" cy="349808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Head of Section – Industrial Systems Cyber Security</a:t>
          </a:r>
          <a:endParaRPr lang="nb-NO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CISSP | GICSP | CCSK | CSTP | CBCI | Lead Auditor ISO 27001</a:t>
          </a:r>
          <a:br>
            <a:rPr lang="en-GB" sz="1300" kern="1200"/>
          </a:br>
          <a:endParaRPr lang="nb-NO" sz="1300" kern="1200"/>
        </a:p>
      </dsp:txBody>
      <dsp:txXfrm rot="-5400000">
        <a:off x="1967675" y="195535"/>
        <a:ext cx="3443764" cy="1004177"/>
      </dsp:txXfrm>
    </dsp:sp>
    <dsp:sp modelId="{B0CDC2F3-9955-4AAF-BF58-B6E9D5888C94}">
      <dsp:nvSpPr>
        <dsp:cNvPr id="0" name=""/>
        <dsp:cNvSpPr/>
      </dsp:nvSpPr>
      <dsp:spPr>
        <a:xfrm>
          <a:off x="0" y="2107"/>
          <a:ext cx="1967674" cy="139103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kern="1200"/>
            <a:t>With DNV cybersecurity since August 2020</a:t>
          </a:r>
          <a:endParaRPr lang="nb-NO" sz="1800" kern="1200"/>
        </a:p>
      </dsp:txBody>
      <dsp:txXfrm>
        <a:off x="67905" y="70012"/>
        <a:ext cx="1831864" cy="1255221"/>
      </dsp:txXfrm>
    </dsp:sp>
    <dsp:sp modelId="{73135329-8E40-452A-BB4F-63CCE7620132}">
      <dsp:nvSpPr>
        <dsp:cNvPr id="0" name=""/>
        <dsp:cNvSpPr/>
      </dsp:nvSpPr>
      <dsp:spPr>
        <a:xfrm rot="5400000">
          <a:off x="3160306" y="409162"/>
          <a:ext cx="1112825" cy="349808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en-GB" sz="1300" kern="1200" dirty="0"/>
            <a:t>  Counter-terrorism, Witness protection, National Hi-Tech Crime Unit, International Organised Crime, Kidnap &amp; Human Trafficking, Intelligence, Economic crime.</a:t>
          </a:r>
          <a:endParaRPr lang="nb-N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None/>
          </a:pPr>
          <a:r>
            <a:rPr lang="en-GB" sz="1300" kern="1200" dirty="0"/>
            <a:t>  40 countries globally</a:t>
          </a:r>
          <a:endParaRPr lang="nb-NO" sz="1300" kern="1200" dirty="0"/>
        </a:p>
      </dsp:txBody>
      <dsp:txXfrm rot="-5400000">
        <a:off x="1967675" y="1656117"/>
        <a:ext cx="3443764" cy="1004177"/>
      </dsp:txXfrm>
    </dsp:sp>
    <dsp:sp modelId="{D74B4057-132C-4117-B697-A23DD380F28E}">
      <dsp:nvSpPr>
        <dsp:cNvPr id="0" name=""/>
        <dsp:cNvSpPr/>
      </dsp:nvSpPr>
      <dsp:spPr>
        <a:xfrm>
          <a:off x="0" y="1462691"/>
          <a:ext cx="1967674" cy="139103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kern="1200"/>
            <a:t>Former detective at Scotland Yard, London UK for 26 years </a:t>
          </a:r>
          <a:endParaRPr lang="nb-NO" sz="1800" kern="1200"/>
        </a:p>
      </dsp:txBody>
      <dsp:txXfrm>
        <a:off x="67905" y="1530596"/>
        <a:ext cx="1831864" cy="1255221"/>
      </dsp:txXfrm>
    </dsp:sp>
    <dsp:sp modelId="{353C561A-2388-4C62-B2E0-1030C0490F73}">
      <dsp:nvSpPr>
        <dsp:cNvPr id="0" name=""/>
        <dsp:cNvSpPr/>
      </dsp:nvSpPr>
      <dsp:spPr>
        <a:xfrm rot="5400000">
          <a:off x="3160306" y="1869746"/>
          <a:ext cx="1112825" cy="3498088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b-N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/>
            <a:t>IT, cyber and digital forensics</a:t>
          </a:r>
          <a:endParaRPr lang="nb-N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 dirty="0"/>
            <a:t>Criminal Intelligence</a:t>
          </a:r>
          <a:endParaRPr lang="nb-NO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300" kern="1200" dirty="0"/>
            <a:t>Financial investigation &amp; money laundering</a:t>
          </a:r>
          <a:endParaRPr lang="nb-NO" sz="1300" kern="1200" dirty="0"/>
        </a:p>
      </dsp:txBody>
      <dsp:txXfrm rot="-5400000">
        <a:off x="1967675" y="3116701"/>
        <a:ext cx="3443764" cy="1004177"/>
      </dsp:txXfrm>
    </dsp:sp>
    <dsp:sp modelId="{5C34D435-8385-43B4-B9AA-E262BACA1A6D}">
      <dsp:nvSpPr>
        <dsp:cNvPr id="0" name=""/>
        <dsp:cNvSpPr/>
      </dsp:nvSpPr>
      <dsp:spPr>
        <a:xfrm>
          <a:off x="0" y="2923274"/>
          <a:ext cx="1967674" cy="139103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kern="1200" dirty="0"/>
            <a:t>Specialising in</a:t>
          </a:r>
          <a:endParaRPr lang="nb-NO" sz="1800" kern="1200" dirty="0"/>
        </a:p>
      </dsp:txBody>
      <dsp:txXfrm>
        <a:off x="67905" y="2991179"/>
        <a:ext cx="1831864" cy="125522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EE932D-2728-4997-92ED-43E386DA0EAE}">
      <dsp:nvSpPr>
        <dsp:cNvPr id="0" name=""/>
        <dsp:cNvSpPr/>
      </dsp:nvSpPr>
      <dsp:spPr>
        <a:xfrm>
          <a:off x="1295173" y="1674185"/>
          <a:ext cx="1173933" cy="1007757"/>
        </a:xfrm>
        <a:prstGeom prst="hexagon">
          <a:avLst>
            <a:gd name="adj" fmla="val 25000"/>
            <a:gd name="vf" fmla="val 11547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2700" rIns="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GPS jamming and spoofing</a:t>
          </a:r>
        </a:p>
      </dsp:txBody>
      <dsp:txXfrm>
        <a:off x="1476981" y="1830257"/>
        <a:ext cx="810318" cy="695613"/>
      </dsp:txXfrm>
    </dsp:sp>
    <dsp:sp modelId="{63D43688-FC36-4A38-89F2-D2A1C43046D3}">
      <dsp:nvSpPr>
        <dsp:cNvPr id="0" name=""/>
        <dsp:cNvSpPr/>
      </dsp:nvSpPr>
      <dsp:spPr>
        <a:xfrm>
          <a:off x="1323183" y="2124700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41DA70-9506-4188-93DC-7E79F86CC583}">
      <dsp:nvSpPr>
        <dsp:cNvPr id="0" name=""/>
        <dsp:cNvSpPr/>
      </dsp:nvSpPr>
      <dsp:spPr>
        <a:xfrm>
          <a:off x="285178" y="1117435"/>
          <a:ext cx="1173933" cy="1007757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8A8BDCF-3811-4578-A055-D84DB92B9407}">
      <dsp:nvSpPr>
        <dsp:cNvPr id="0" name=""/>
        <dsp:cNvSpPr/>
      </dsp:nvSpPr>
      <dsp:spPr>
        <a:xfrm>
          <a:off x="1089220" y="1990922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56950"/>
              <a:satOff val="0"/>
              <a:lumOff val="62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C9C266E-E780-4BA7-8D0A-B05BA60BD7C4}">
      <dsp:nvSpPr>
        <dsp:cNvPr id="0" name=""/>
        <dsp:cNvSpPr/>
      </dsp:nvSpPr>
      <dsp:spPr>
        <a:xfrm>
          <a:off x="2305168" y="1113992"/>
          <a:ext cx="1173933" cy="1007757"/>
        </a:xfrm>
        <a:prstGeom prst="hexagon">
          <a:avLst>
            <a:gd name="adj" fmla="val 25000"/>
            <a:gd name="vf" fmla="val 115470"/>
          </a:avLst>
        </a:prstGeom>
        <a:solidFill>
          <a:schemeClr val="accent3">
            <a:hueOff val="-119077"/>
            <a:satOff val="0"/>
            <a:lumOff val="1301"/>
            <a:alphaOff val="0"/>
          </a:schemeClr>
        </a:solidFill>
        <a:ln w="25400" cap="flat" cmpd="sng" algn="ctr">
          <a:solidFill>
            <a:schemeClr val="accent3">
              <a:hueOff val="-119077"/>
              <a:satOff val="0"/>
              <a:lumOff val="130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2700" rIns="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VSAT hacking using common login</a:t>
          </a:r>
        </a:p>
      </dsp:txBody>
      <dsp:txXfrm>
        <a:off x="2486976" y="1270064"/>
        <a:ext cx="810318" cy="695613"/>
      </dsp:txXfrm>
    </dsp:sp>
    <dsp:sp modelId="{609769C6-1249-4573-984E-A63195590CFB}">
      <dsp:nvSpPr>
        <dsp:cNvPr id="0" name=""/>
        <dsp:cNvSpPr/>
      </dsp:nvSpPr>
      <dsp:spPr>
        <a:xfrm>
          <a:off x="3112505" y="1986004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113899"/>
              <a:satOff val="0"/>
              <a:lumOff val="124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3B93DFA-8BC3-4A0A-9DC1-E63791BF7FE8}">
      <dsp:nvSpPr>
        <dsp:cNvPr id="0" name=""/>
        <dsp:cNvSpPr/>
      </dsp:nvSpPr>
      <dsp:spPr>
        <a:xfrm>
          <a:off x="3314340" y="1672217"/>
          <a:ext cx="1173933" cy="1007757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accent3">
              <a:hueOff val="-119077"/>
              <a:satOff val="0"/>
              <a:lumOff val="130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961D28-2217-4DE4-B97C-4DC1396CA7DB}">
      <dsp:nvSpPr>
        <dsp:cNvPr id="0" name=""/>
        <dsp:cNvSpPr/>
      </dsp:nvSpPr>
      <dsp:spPr>
        <a:xfrm>
          <a:off x="3343173" y="2120765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170849"/>
              <a:satOff val="0"/>
              <a:lumOff val="186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BB03AD1-F5E9-4A4C-9592-424956785DB6}">
      <dsp:nvSpPr>
        <dsp:cNvPr id="0" name=""/>
        <dsp:cNvSpPr/>
      </dsp:nvSpPr>
      <dsp:spPr>
        <a:xfrm>
          <a:off x="1295173" y="560193"/>
          <a:ext cx="1173933" cy="1007757"/>
        </a:xfrm>
        <a:prstGeom prst="hexagon">
          <a:avLst>
            <a:gd name="adj" fmla="val 25000"/>
            <a:gd name="vf" fmla="val 115470"/>
          </a:avLst>
        </a:prstGeom>
        <a:solidFill>
          <a:schemeClr val="accent3">
            <a:hueOff val="-238153"/>
            <a:satOff val="0"/>
            <a:lumOff val="2603"/>
            <a:alphaOff val="0"/>
          </a:schemeClr>
        </a:solidFill>
        <a:ln w="25400" cap="flat" cmpd="sng" algn="ctr">
          <a:solidFill>
            <a:schemeClr val="accent3">
              <a:hueOff val="-238153"/>
              <a:satOff val="0"/>
              <a:lumOff val="260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2700" rIns="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oss of fuel control and ballast water valves due to ECDIS update</a:t>
          </a:r>
        </a:p>
      </dsp:txBody>
      <dsp:txXfrm>
        <a:off x="1476981" y="716265"/>
        <a:ext cx="810318" cy="695613"/>
      </dsp:txXfrm>
    </dsp:sp>
    <dsp:sp modelId="{70327323-4351-4B5C-B43C-7AA0C0E30171}">
      <dsp:nvSpPr>
        <dsp:cNvPr id="0" name=""/>
        <dsp:cNvSpPr/>
      </dsp:nvSpPr>
      <dsp:spPr>
        <a:xfrm>
          <a:off x="2094272" y="573964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227799"/>
              <a:satOff val="0"/>
              <a:lumOff val="248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FB18D4-C0AC-4750-8997-ECC516139BFD}">
      <dsp:nvSpPr>
        <dsp:cNvPr id="0" name=""/>
        <dsp:cNvSpPr/>
      </dsp:nvSpPr>
      <dsp:spPr>
        <a:xfrm>
          <a:off x="2305168" y="0"/>
          <a:ext cx="1173933" cy="1007757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accent3">
              <a:hueOff val="-238153"/>
              <a:satOff val="0"/>
              <a:lumOff val="260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825122D-D657-4FF5-A792-7F4DBBEBE9E7}">
      <dsp:nvSpPr>
        <dsp:cNvPr id="0" name=""/>
        <dsp:cNvSpPr/>
      </dsp:nvSpPr>
      <dsp:spPr>
        <a:xfrm>
          <a:off x="2338121" y="446580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284748"/>
              <a:satOff val="0"/>
              <a:lumOff val="311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84A890-FC49-459B-BA63-9A78443609EC}">
      <dsp:nvSpPr>
        <dsp:cNvPr id="0" name=""/>
        <dsp:cNvSpPr/>
      </dsp:nvSpPr>
      <dsp:spPr>
        <a:xfrm>
          <a:off x="3314340" y="558225"/>
          <a:ext cx="1173933" cy="1007757"/>
        </a:xfrm>
        <a:prstGeom prst="hexagon">
          <a:avLst>
            <a:gd name="adj" fmla="val 25000"/>
            <a:gd name="vf" fmla="val 115470"/>
          </a:avLst>
        </a:prstGeom>
        <a:solidFill>
          <a:schemeClr val="accent3">
            <a:hueOff val="-357230"/>
            <a:satOff val="0"/>
            <a:lumOff val="3904"/>
            <a:alphaOff val="0"/>
          </a:schemeClr>
        </a:solidFill>
        <a:ln w="25400" cap="flat" cmpd="sng" algn="ctr">
          <a:solidFill>
            <a:schemeClr val="accent3">
              <a:hueOff val="-357230"/>
              <a:satOff val="0"/>
              <a:lumOff val="390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2700" rIns="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PMS system shore and vessel attack </a:t>
          </a:r>
        </a:p>
      </dsp:txBody>
      <dsp:txXfrm>
        <a:off x="3496148" y="714297"/>
        <a:ext cx="810318" cy="695613"/>
      </dsp:txXfrm>
    </dsp:sp>
    <dsp:sp modelId="{5E052CA5-92E9-4BEB-AFC1-2A3FFC36B094}">
      <dsp:nvSpPr>
        <dsp:cNvPr id="0" name=""/>
        <dsp:cNvSpPr/>
      </dsp:nvSpPr>
      <dsp:spPr>
        <a:xfrm>
          <a:off x="4330101" y="1004314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341698"/>
              <a:satOff val="0"/>
              <a:lumOff val="373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C80A02B-BDA8-44ED-863A-34C9461C828C}">
      <dsp:nvSpPr>
        <dsp:cNvPr id="0" name=""/>
        <dsp:cNvSpPr/>
      </dsp:nvSpPr>
      <dsp:spPr>
        <a:xfrm>
          <a:off x="4324335" y="1124812"/>
          <a:ext cx="1173933" cy="1007757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accent3">
              <a:hueOff val="-357230"/>
              <a:satOff val="0"/>
              <a:lumOff val="390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EE7816-3256-400C-BABC-B0931EA63701}">
      <dsp:nvSpPr>
        <dsp:cNvPr id="0" name=""/>
        <dsp:cNvSpPr/>
      </dsp:nvSpPr>
      <dsp:spPr>
        <a:xfrm>
          <a:off x="4553355" y="1142518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398648"/>
              <a:satOff val="0"/>
              <a:lumOff val="435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3B7B340-F8E5-4C29-A021-4B1482D353E7}">
      <dsp:nvSpPr>
        <dsp:cNvPr id="0" name=""/>
        <dsp:cNvSpPr/>
      </dsp:nvSpPr>
      <dsp:spPr>
        <a:xfrm>
          <a:off x="4324335" y="10820"/>
          <a:ext cx="1173933" cy="1007757"/>
        </a:xfrm>
        <a:prstGeom prst="hexagon">
          <a:avLst>
            <a:gd name="adj" fmla="val 25000"/>
            <a:gd name="vf" fmla="val 115470"/>
          </a:avLst>
        </a:prstGeom>
        <a:solidFill>
          <a:schemeClr val="accent3">
            <a:hueOff val="-476306"/>
            <a:satOff val="0"/>
            <a:lumOff val="5205"/>
            <a:alphaOff val="0"/>
          </a:schemeClr>
        </a:solidFill>
        <a:ln w="25400" cap="flat" cmpd="sng" algn="ctr">
          <a:solidFill>
            <a:schemeClr val="accent3">
              <a:hueOff val="-476306"/>
              <a:satOff val="0"/>
              <a:lumOff val="520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2700" rIns="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Pirate attack supported by cyber attack</a:t>
          </a:r>
        </a:p>
      </dsp:txBody>
      <dsp:txXfrm>
        <a:off x="4506143" y="166892"/>
        <a:ext cx="810318" cy="695613"/>
      </dsp:txXfrm>
    </dsp:sp>
    <dsp:sp modelId="{CF85FA35-DDA9-4B70-88B1-CBD87863F49F}">
      <dsp:nvSpPr>
        <dsp:cNvPr id="0" name=""/>
        <dsp:cNvSpPr/>
      </dsp:nvSpPr>
      <dsp:spPr>
        <a:xfrm>
          <a:off x="5340096" y="462319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455597"/>
              <a:satOff val="0"/>
              <a:lumOff val="497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57FEAF-BC90-4111-A662-DAAD08330E65}">
      <dsp:nvSpPr>
        <dsp:cNvPr id="0" name=""/>
        <dsp:cNvSpPr/>
      </dsp:nvSpPr>
      <dsp:spPr>
        <a:xfrm>
          <a:off x="5334330" y="572980"/>
          <a:ext cx="1173933" cy="1007757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accent3">
              <a:hueOff val="-476306"/>
              <a:satOff val="0"/>
              <a:lumOff val="520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62B85AD-98FC-4D85-9A66-C8B0DAAA1327}">
      <dsp:nvSpPr>
        <dsp:cNvPr id="0" name=""/>
        <dsp:cNvSpPr/>
      </dsp:nvSpPr>
      <dsp:spPr>
        <a:xfrm>
          <a:off x="5568293" y="595112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512547"/>
              <a:satOff val="0"/>
              <a:lumOff val="560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F3F542-0C07-4AA4-9ECF-92843CE62334}">
      <dsp:nvSpPr>
        <dsp:cNvPr id="0" name=""/>
        <dsp:cNvSpPr/>
      </dsp:nvSpPr>
      <dsp:spPr>
        <a:xfrm>
          <a:off x="5334330" y="1685005"/>
          <a:ext cx="1173933" cy="1007757"/>
        </a:xfrm>
        <a:prstGeom prst="hexagon">
          <a:avLst>
            <a:gd name="adj" fmla="val 25000"/>
            <a:gd name="vf" fmla="val 115470"/>
          </a:avLst>
        </a:prstGeom>
        <a:solidFill>
          <a:schemeClr val="accent3">
            <a:hueOff val="-595383"/>
            <a:satOff val="0"/>
            <a:lumOff val="6506"/>
            <a:alphaOff val="0"/>
          </a:schemeClr>
        </a:solidFill>
        <a:ln w="25400" cap="flat" cmpd="sng" algn="ctr">
          <a:solidFill>
            <a:schemeClr val="accent3">
              <a:hueOff val="-595383"/>
              <a:satOff val="0"/>
              <a:lumOff val="650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2700" rIns="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Loss of main switchboard due to ransomware </a:t>
          </a:r>
        </a:p>
      </dsp:txBody>
      <dsp:txXfrm>
        <a:off x="5516138" y="1841077"/>
        <a:ext cx="810318" cy="695613"/>
      </dsp:txXfrm>
    </dsp:sp>
    <dsp:sp modelId="{311832C1-9766-49DE-B17A-28AD5A1DFE7B}">
      <dsp:nvSpPr>
        <dsp:cNvPr id="0" name=""/>
        <dsp:cNvSpPr/>
      </dsp:nvSpPr>
      <dsp:spPr>
        <a:xfrm>
          <a:off x="5566645" y="2567838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569497"/>
              <a:satOff val="0"/>
              <a:lumOff val="622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833038-1CD4-42EB-A3AB-4584AB07B99A}">
      <dsp:nvSpPr>
        <dsp:cNvPr id="0" name=""/>
        <dsp:cNvSpPr/>
      </dsp:nvSpPr>
      <dsp:spPr>
        <a:xfrm>
          <a:off x="4324335" y="2236837"/>
          <a:ext cx="1173933" cy="1007757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6"/>
          <a:stretch>
            <a:fillRect/>
          </a:stretch>
        </a:blipFill>
        <a:ln w="25400" cap="flat" cmpd="sng" algn="ctr">
          <a:solidFill>
            <a:schemeClr val="accent3">
              <a:hueOff val="-595383"/>
              <a:satOff val="0"/>
              <a:lumOff val="650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04335D-A693-4E39-AE9B-A0045A336EF4}">
      <dsp:nvSpPr>
        <dsp:cNvPr id="0" name=""/>
        <dsp:cNvSpPr/>
      </dsp:nvSpPr>
      <dsp:spPr>
        <a:xfrm>
          <a:off x="5349158" y="2678991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626446"/>
              <a:satOff val="0"/>
              <a:lumOff val="684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40F4AD2-7879-408A-BB7F-6B74244DB68D}">
      <dsp:nvSpPr>
        <dsp:cNvPr id="0" name=""/>
        <dsp:cNvSpPr/>
      </dsp:nvSpPr>
      <dsp:spPr>
        <a:xfrm>
          <a:off x="2304345" y="2230443"/>
          <a:ext cx="1173933" cy="1007757"/>
        </a:xfrm>
        <a:prstGeom prst="hexagon">
          <a:avLst>
            <a:gd name="adj" fmla="val 25000"/>
            <a:gd name="vf" fmla="val 115470"/>
          </a:avLst>
        </a:prstGeom>
        <a:solidFill>
          <a:schemeClr val="accent3">
            <a:hueOff val="-714459"/>
            <a:satOff val="0"/>
            <a:lumOff val="7808"/>
            <a:alphaOff val="0"/>
          </a:schemeClr>
        </a:solidFill>
        <a:ln w="25400" cap="flat" cmpd="sng" algn="ctr">
          <a:solidFill>
            <a:schemeClr val="accent3">
              <a:hueOff val="-714459"/>
              <a:satOff val="0"/>
              <a:lumOff val="780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2700" rIns="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AIS spoofing</a:t>
          </a:r>
        </a:p>
      </dsp:txBody>
      <dsp:txXfrm>
        <a:off x="2486153" y="2386515"/>
        <a:ext cx="810318" cy="695613"/>
      </dsp:txXfrm>
    </dsp:sp>
    <dsp:sp modelId="{E90D6C61-8917-4816-AB06-701F22EF2922}">
      <dsp:nvSpPr>
        <dsp:cNvPr id="0" name=""/>
        <dsp:cNvSpPr/>
      </dsp:nvSpPr>
      <dsp:spPr>
        <a:xfrm>
          <a:off x="2337297" y="2677024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683396"/>
              <a:satOff val="0"/>
              <a:lumOff val="746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026414-C41F-4C76-A37C-3F38051D4FFD}">
      <dsp:nvSpPr>
        <dsp:cNvPr id="0" name=""/>
        <dsp:cNvSpPr/>
      </dsp:nvSpPr>
      <dsp:spPr>
        <a:xfrm>
          <a:off x="1294350" y="2790636"/>
          <a:ext cx="1173933" cy="1007757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7"/>
          <a:stretch>
            <a:fillRect/>
          </a:stretch>
        </a:blipFill>
        <a:ln w="25400" cap="flat" cmpd="sng" algn="ctr">
          <a:solidFill>
            <a:schemeClr val="accent3">
              <a:hueOff val="-714459"/>
              <a:satOff val="0"/>
              <a:lumOff val="780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258D54-F8C3-48AD-881E-5C79B911A2CA}">
      <dsp:nvSpPr>
        <dsp:cNvPr id="0" name=""/>
        <dsp:cNvSpPr/>
      </dsp:nvSpPr>
      <dsp:spPr>
        <a:xfrm>
          <a:off x="2093448" y="2804899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740346"/>
              <a:satOff val="0"/>
              <a:lumOff val="809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E2C6B4-BD79-4940-82C3-CAD4E95E89E6}">
      <dsp:nvSpPr>
        <dsp:cNvPr id="0" name=""/>
        <dsp:cNvSpPr/>
      </dsp:nvSpPr>
      <dsp:spPr>
        <a:xfrm>
          <a:off x="6339382" y="2249624"/>
          <a:ext cx="1173933" cy="1007757"/>
        </a:xfrm>
        <a:prstGeom prst="hexagon">
          <a:avLst>
            <a:gd name="adj" fmla="val 25000"/>
            <a:gd name="vf" fmla="val 115470"/>
          </a:avLst>
        </a:prstGeom>
        <a:solidFill>
          <a:schemeClr val="accent3">
            <a:hueOff val="-833536"/>
            <a:satOff val="0"/>
            <a:lumOff val="9109"/>
            <a:alphaOff val="0"/>
          </a:schemeClr>
        </a:solidFill>
        <a:ln w="25400" cap="flat" cmpd="sng" algn="ctr">
          <a:solidFill>
            <a:schemeClr val="accent3">
              <a:hueOff val="-833536"/>
              <a:satOff val="0"/>
              <a:lumOff val="910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2700" rIns="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00" kern="1200" dirty="0"/>
            <a:t>Hacking of cargo tracking system for smuggling purposes</a:t>
          </a:r>
        </a:p>
      </dsp:txBody>
      <dsp:txXfrm>
        <a:off x="6521190" y="2405696"/>
        <a:ext cx="810318" cy="695613"/>
      </dsp:txXfrm>
    </dsp:sp>
    <dsp:sp modelId="{B89A3211-A247-4C38-AF0C-5A6D3B67C4CA}">
      <dsp:nvSpPr>
        <dsp:cNvPr id="0" name=""/>
        <dsp:cNvSpPr/>
      </dsp:nvSpPr>
      <dsp:spPr>
        <a:xfrm>
          <a:off x="6571697" y="3132457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797295"/>
              <a:satOff val="0"/>
              <a:lumOff val="871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E902E1-9D68-4269-AE32-48A1F7AA02FF}">
      <dsp:nvSpPr>
        <dsp:cNvPr id="0" name=""/>
        <dsp:cNvSpPr/>
      </dsp:nvSpPr>
      <dsp:spPr>
        <a:xfrm>
          <a:off x="5329387" y="2801456"/>
          <a:ext cx="1173933" cy="1007757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8"/>
          <a:stretch>
            <a:fillRect/>
          </a:stretch>
        </a:blipFill>
        <a:ln w="25400" cap="flat" cmpd="sng" algn="ctr">
          <a:solidFill>
            <a:schemeClr val="accent3">
              <a:hueOff val="-833536"/>
              <a:satOff val="0"/>
              <a:lumOff val="910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85A5834-30E3-4AF4-AF99-71A91564CCFB}">
      <dsp:nvSpPr>
        <dsp:cNvPr id="0" name=""/>
        <dsp:cNvSpPr/>
      </dsp:nvSpPr>
      <dsp:spPr>
        <a:xfrm>
          <a:off x="6354210" y="3243610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854245"/>
              <a:satOff val="0"/>
              <a:lumOff val="933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18D9D4-0D01-4EDE-BB8C-0DF19FA121DE}">
      <dsp:nvSpPr>
        <dsp:cNvPr id="0" name=""/>
        <dsp:cNvSpPr/>
      </dsp:nvSpPr>
      <dsp:spPr>
        <a:xfrm>
          <a:off x="6343501" y="21640"/>
          <a:ext cx="1173933" cy="1007757"/>
        </a:xfrm>
        <a:prstGeom prst="hexagon">
          <a:avLst>
            <a:gd name="adj" fmla="val 25000"/>
            <a:gd name="vf" fmla="val 115470"/>
          </a:avLst>
        </a:prstGeom>
        <a:solidFill>
          <a:schemeClr val="accent3">
            <a:hueOff val="-952613"/>
            <a:satOff val="0"/>
            <a:lumOff val="10410"/>
            <a:alphaOff val="0"/>
          </a:schemeClr>
        </a:solidFill>
        <a:ln w="25400" cap="flat" cmpd="sng" algn="ctr">
          <a:solidFill>
            <a:schemeClr val="accent3">
              <a:hueOff val="-952613"/>
              <a:satOff val="0"/>
              <a:lumOff val="1041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2700" rIns="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Hackers took “full control” of navigation systems for 10 h</a:t>
          </a:r>
        </a:p>
      </dsp:txBody>
      <dsp:txXfrm>
        <a:off x="6525309" y="177712"/>
        <a:ext cx="810318" cy="695613"/>
      </dsp:txXfrm>
    </dsp:sp>
    <dsp:sp modelId="{C27D75F8-5692-4294-AEA5-8C3598E407BF}">
      <dsp:nvSpPr>
        <dsp:cNvPr id="0" name=""/>
        <dsp:cNvSpPr/>
      </dsp:nvSpPr>
      <dsp:spPr>
        <a:xfrm>
          <a:off x="7154957" y="907915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911195"/>
              <a:satOff val="0"/>
              <a:lumOff val="995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90A078E-2BD4-4C3F-9F38-028BBBDB607D}">
      <dsp:nvSpPr>
        <dsp:cNvPr id="0" name=""/>
        <dsp:cNvSpPr/>
      </dsp:nvSpPr>
      <dsp:spPr>
        <a:xfrm>
          <a:off x="6343501" y="1134157"/>
          <a:ext cx="1173933" cy="1007757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9"/>
          <a:stretch>
            <a:fillRect/>
          </a:stretch>
        </a:blipFill>
        <a:ln w="25400" cap="flat" cmpd="sng" algn="ctr">
          <a:solidFill>
            <a:schemeClr val="accent3">
              <a:hueOff val="-952613"/>
              <a:satOff val="0"/>
              <a:lumOff val="1041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4C0D6E6-32CE-4022-AAF6-9FF4EC550F7F}">
      <dsp:nvSpPr>
        <dsp:cNvPr id="0" name=""/>
        <dsp:cNvSpPr/>
      </dsp:nvSpPr>
      <dsp:spPr>
        <a:xfrm>
          <a:off x="7154957" y="1140059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968144"/>
              <a:satOff val="0"/>
              <a:lumOff val="1058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FFF254-8328-441E-A26A-67176DCFC253}">
      <dsp:nvSpPr>
        <dsp:cNvPr id="0" name=""/>
        <dsp:cNvSpPr/>
      </dsp:nvSpPr>
      <dsp:spPr>
        <a:xfrm>
          <a:off x="3310221" y="2795063"/>
          <a:ext cx="1173933" cy="1007757"/>
        </a:xfrm>
        <a:prstGeom prst="hexagon">
          <a:avLst>
            <a:gd name="adj" fmla="val 25000"/>
            <a:gd name="vf" fmla="val 115470"/>
          </a:avLst>
        </a:prstGeom>
        <a:solidFill>
          <a:schemeClr val="accent3">
            <a:hueOff val="-1071689"/>
            <a:satOff val="0"/>
            <a:lumOff val="11711"/>
            <a:alphaOff val="0"/>
          </a:schemeClr>
        </a:solidFill>
        <a:ln w="25400" cap="flat" cmpd="sng" algn="ctr">
          <a:solidFill>
            <a:schemeClr val="accent3">
              <a:hueOff val="-1071689"/>
              <a:satOff val="0"/>
              <a:lumOff val="1171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2700" rIns="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ECIDS ransomware and chart spoofing</a:t>
          </a:r>
        </a:p>
      </dsp:txBody>
      <dsp:txXfrm>
        <a:off x="3492029" y="2951135"/>
        <a:ext cx="810318" cy="695613"/>
      </dsp:txXfrm>
    </dsp:sp>
    <dsp:sp modelId="{D9E48257-7524-40BE-B79E-907DA39A59E2}">
      <dsp:nvSpPr>
        <dsp:cNvPr id="0" name=""/>
        <dsp:cNvSpPr/>
      </dsp:nvSpPr>
      <dsp:spPr>
        <a:xfrm>
          <a:off x="3542536" y="3677895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1025094"/>
              <a:satOff val="0"/>
              <a:lumOff val="1120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DAB4AB-CBAC-4C77-BA43-C9EE70B92AEF}">
      <dsp:nvSpPr>
        <dsp:cNvPr id="0" name=""/>
        <dsp:cNvSpPr/>
      </dsp:nvSpPr>
      <dsp:spPr>
        <a:xfrm>
          <a:off x="2300225" y="3346894"/>
          <a:ext cx="1173933" cy="1007757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10"/>
          <a:stretch>
            <a:fillRect/>
          </a:stretch>
        </a:blipFill>
        <a:ln w="25400" cap="flat" cmpd="sng" algn="ctr">
          <a:solidFill>
            <a:schemeClr val="accent3">
              <a:hueOff val="-1071689"/>
              <a:satOff val="0"/>
              <a:lumOff val="1171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EC58343-B15C-4EA4-AE31-3B5276FEE4F8}">
      <dsp:nvSpPr>
        <dsp:cNvPr id="0" name=""/>
        <dsp:cNvSpPr/>
      </dsp:nvSpPr>
      <dsp:spPr>
        <a:xfrm>
          <a:off x="3325049" y="3789049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1082044"/>
              <a:satOff val="0"/>
              <a:lumOff val="1182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2EB963E-0379-4DD0-B813-EFDCE80DD2EA}">
      <dsp:nvSpPr>
        <dsp:cNvPr id="0" name=""/>
        <dsp:cNvSpPr/>
      </dsp:nvSpPr>
      <dsp:spPr>
        <a:xfrm>
          <a:off x="5326915" y="3910530"/>
          <a:ext cx="1173933" cy="1007757"/>
        </a:xfrm>
        <a:prstGeom prst="hexagon">
          <a:avLst>
            <a:gd name="adj" fmla="val 25000"/>
            <a:gd name="vf" fmla="val 115470"/>
          </a:avLst>
        </a:prstGeom>
        <a:solidFill>
          <a:schemeClr val="accent3">
            <a:hueOff val="-1190766"/>
            <a:satOff val="0"/>
            <a:lumOff val="13013"/>
            <a:alphaOff val="0"/>
          </a:schemeClr>
        </a:solidFill>
        <a:ln w="25400" cap="flat" cmpd="sng" algn="ctr">
          <a:solidFill>
            <a:schemeClr val="accent3">
              <a:hueOff val="-1190766"/>
              <a:satOff val="0"/>
              <a:lumOff val="1301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2700" rIns="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Malware allows full access to vessel systems</a:t>
          </a:r>
        </a:p>
      </dsp:txBody>
      <dsp:txXfrm>
        <a:off x="5508723" y="4066602"/>
        <a:ext cx="810318" cy="695613"/>
      </dsp:txXfrm>
    </dsp:sp>
    <dsp:sp modelId="{02D37C0A-3756-4D5E-9837-3E67388337C0}">
      <dsp:nvSpPr>
        <dsp:cNvPr id="0" name=""/>
        <dsp:cNvSpPr/>
      </dsp:nvSpPr>
      <dsp:spPr>
        <a:xfrm>
          <a:off x="5354925" y="4359078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1138993"/>
              <a:satOff val="0"/>
              <a:lumOff val="1244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40EBD6-0F5A-4FD9-B801-ED3F22745887}">
      <dsp:nvSpPr>
        <dsp:cNvPr id="0" name=""/>
        <dsp:cNvSpPr/>
      </dsp:nvSpPr>
      <dsp:spPr>
        <a:xfrm>
          <a:off x="4316920" y="3352305"/>
          <a:ext cx="1173933" cy="1007757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11"/>
          <a:stretch>
            <a:fillRect/>
          </a:stretch>
        </a:blipFill>
        <a:ln w="25400" cap="flat" cmpd="sng" algn="ctr">
          <a:solidFill>
            <a:schemeClr val="accent3">
              <a:hueOff val="-1190766"/>
              <a:satOff val="0"/>
              <a:lumOff val="1301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97F4C8-2C1D-4AD2-AA18-D07DDD149DF0}">
      <dsp:nvSpPr>
        <dsp:cNvPr id="0" name=""/>
        <dsp:cNvSpPr/>
      </dsp:nvSpPr>
      <dsp:spPr>
        <a:xfrm>
          <a:off x="5124257" y="4224317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1195943"/>
              <a:satOff val="0"/>
              <a:lumOff val="1306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40F245C-AAB4-4560-8F6F-C90DE70E2E32}">
      <dsp:nvSpPr>
        <dsp:cNvPr id="0" name=""/>
        <dsp:cNvSpPr/>
      </dsp:nvSpPr>
      <dsp:spPr>
        <a:xfrm>
          <a:off x="6340206" y="3364108"/>
          <a:ext cx="1173933" cy="1007757"/>
        </a:xfrm>
        <a:prstGeom prst="hexagon">
          <a:avLst>
            <a:gd name="adj" fmla="val 25000"/>
            <a:gd name="vf" fmla="val 115470"/>
          </a:avLst>
        </a:prstGeom>
        <a:solidFill>
          <a:schemeClr val="accent3">
            <a:hueOff val="-1309842"/>
            <a:satOff val="0"/>
            <a:lumOff val="14314"/>
            <a:alphaOff val="0"/>
          </a:schemeClr>
        </a:solidFill>
        <a:ln w="25400" cap="flat" cmpd="sng" algn="ctr">
          <a:solidFill>
            <a:schemeClr val="accent3">
              <a:hueOff val="-1309842"/>
              <a:satOff val="0"/>
              <a:lumOff val="1431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2700" rIns="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Hackers caused IMO’s website in 2020 to go down</a:t>
          </a:r>
        </a:p>
      </dsp:txBody>
      <dsp:txXfrm>
        <a:off x="6522014" y="3520180"/>
        <a:ext cx="810318" cy="695613"/>
      </dsp:txXfrm>
    </dsp:sp>
    <dsp:sp modelId="{F241B9F9-54FB-4C12-9D06-AAB4B2D03393}">
      <dsp:nvSpPr>
        <dsp:cNvPr id="0" name=""/>
        <dsp:cNvSpPr/>
      </dsp:nvSpPr>
      <dsp:spPr>
        <a:xfrm>
          <a:off x="7365029" y="3806263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1252893"/>
              <a:satOff val="0"/>
              <a:lumOff val="1369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477754A-3975-4780-BFC3-BD2E155BE6C0}">
      <dsp:nvSpPr>
        <dsp:cNvPr id="0" name=""/>
        <dsp:cNvSpPr/>
      </dsp:nvSpPr>
      <dsp:spPr>
        <a:xfrm>
          <a:off x="7349377" y="2812277"/>
          <a:ext cx="1173933" cy="1007757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accent3">
              <a:hueOff val="-1309842"/>
              <a:satOff val="0"/>
              <a:lumOff val="1431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FB848D2-119E-4837-BE54-35A12CFA4A9B}">
      <dsp:nvSpPr>
        <dsp:cNvPr id="0" name=""/>
        <dsp:cNvSpPr/>
      </dsp:nvSpPr>
      <dsp:spPr>
        <a:xfrm>
          <a:off x="7582516" y="3695109"/>
          <a:ext cx="136752" cy="118038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1309842"/>
              <a:satOff val="0"/>
              <a:lumOff val="1431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8">
            <a:extLst>
              <a:ext uri="{FF2B5EF4-FFF2-40B4-BE49-F238E27FC236}">
                <a16:creationId xmlns:a16="http://schemas.microsoft.com/office/drawing/2014/main" id="{7CB7862F-FDFE-4CE4-A641-F1E84284026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8752305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01 June 2023</a:t>
            </a:fld>
            <a:endParaRPr lang="en-GB" sz="800" dirty="0"/>
          </a:p>
        </p:txBody>
      </p:sp>
      <p:sp>
        <p:nvSpPr>
          <p:cNvPr id="7" name="Slide Number Placeholder 9">
            <a:extLst>
              <a:ext uri="{FF2B5EF4-FFF2-40B4-BE49-F238E27FC236}">
                <a16:creationId xmlns:a16="http://schemas.microsoft.com/office/drawing/2014/main" id="{D9624864-B27E-4B59-BD9F-CF6E4178C50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0535" y="8570490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8" name="Footer Placeholder 10">
            <a:extLst>
              <a:ext uri="{FF2B5EF4-FFF2-40B4-BE49-F238E27FC236}">
                <a16:creationId xmlns:a16="http://schemas.microsoft.com/office/drawing/2014/main" id="{3935AD34-C408-4EB3-AA44-EDC087E191F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46366" y="8752305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9" name="Header Placeholder 12">
            <a:extLst>
              <a:ext uri="{FF2B5EF4-FFF2-40B4-BE49-F238E27FC236}">
                <a16:creationId xmlns:a16="http://schemas.microsoft.com/office/drawing/2014/main" id="{1BF2EE41-CFE8-437F-A002-558200137E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46366" y="8570490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F131BA30-CA4C-4B3C-BAD8-233EFAD8F292}"/>
              </a:ext>
            </a:extLst>
          </p:cNvPr>
          <p:cNvGrpSpPr/>
          <p:nvPr/>
        </p:nvGrpSpPr>
        <p:grpSpPr>
          <a:xfrm>
            <a:off x="5615732" y="238993"/>
            <a:ext cx="755843" cy="322808"/>
            <a:chOff x="6380216" y="4059273"/>
            <a:chExt cx="2905863" cy="1241045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25C6FB2-F83B-4BF1-9578-6489988FA8EC}"/>
                </a:ext>
              </a:extLst>
            </p:cNvPr>
            <p:cNvSpPr/>
            <p:nvPr/>
          </p:nvSpPr>
          <p:spPr>
            <a:xfrm>
              <a:off x="6380216" y="4059273"/>
              <a:ext cx="2905863" cy="346936"/>
            </a:xfrm>
            <a:custGeom>
              <a:avLst/>
              <a:gdLst>
                <a:gd name="connsiteX0" fmla="*/ 0 w 2905863"/>
                <a:gd name="connsiteY0" fmla="*/ 0 h 346936"/>
                <a:gd name="connsiteX1" fmla="*/ 2905864 w 2905863"/>
                <a:gd name="connsiteY1" fmla="*/ 0 h 346936"/>
                <a:gd name="connsiteX2" fmla="*/ 2905864 w 2905863"/>
                <a:gd name="connsiteY2" fmla="*/ 346937 h 346936"/>
                <a:gd name="connsiteX3" fmla="*/ 0 w 2905863"/>
                <a:gd name="connsiteY3" fmla="*/ 346937 h 34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346936">
                  <a:moveTo>
                    <a:pt x="0" y="0"/>
                  </a:moveTo>
                  <a:lnTo>
                    <a:pt x="2905864" y="0"/>
                  </a:lnTo>
                  <a:lnTo>
                    <a:pt x="2905864" y="346937"/>
                  </a:lnTo>
                  <a:lnTo>
                    <a:pt x="0" y="346937"/>
                  </a:lnTo>
                  <a:close/>
                </a:path>
              </a:pathLst>
            </a:custGeom>
            <a:solidFill>
              <a:srgbClr val="99D9F0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32D3B574-3971-4C87-B602-DA0CF5429938}"/>
                </a:ext>
              </a:extLst>
            </p:cNvPr>
            <p:cNvSpPr/>
            <p:nvPr/>
          </p:nvSpPr>
          <p:spPr>
            <a:xfrm>
              <a:off x="6380216" y="4521775"/>
              <a:ext cx="2905863" cy="57854"/>
            </a:xfrm>
            <a:custGeom>
              <a:avLst/>
              <a:gdLst>
                <a:gd name="connsiteX0" fmla="*/ 0 w 2905863"/>
                <a:gd name="connsiteY0" fmla="*/ 0 h 57854"/>
                <a:gd name="connsiteX1" fmla="*/ 2905864 w 2905863"/>
                <a:gd name="connsiteY1" fmla="*/ 0 h 57854"/>
                <a:gd name="connsiteX2" fmla="*/ 2905864 w 2905863"/>
                <a:gd name="connsiteY2" fmla="*/ 57854 h 57854"/>
                <a:gd name="connsiteX3" fmla="*/ 0 w 2905863"/>
                <a:gd name="connsiteY3" fmla="*/ 57854 h 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57854">
                  <a:moveTo>
                    <a:pt x="0" y="0"/>
                  </a:moveTo>
                  <a:lnTo>
                    <a:pt x="2905864" y="0"/>
                  </a:lnTo>
                  <a:lnTo>
                    <a:pt x="2905864" y="57854"/>
                  </a:lnTo>
                  <a:lnTo>
                    <a:pt x="0" y="57854"/>
                  </a:lnTo>
                  <a:close/>
                </a:path>
              </a:pathLst>
            </a:custGeom>
            <a:solidFill>
              <a:srgbClr val="3F9C35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1464B63-A19A-438D-8507-5B2CEEB29B6F}"/>
                </a:ext>
              </a:extLst>
            </p:cNvPr>
            <p:cNvSpPr/>
            <p:nvPr/>
          </p:nvSpPr>
          <p:spPr>
            <a:xfrm>
              <a:off x="6380216" y="4637294"/>
              <a:ext cx="2905863" cy="115566"/>
            </a:xfrm>
            <a:custGeom>
              <a:avLst/>
              <a:gdLst>
                <a:gd name="connsiteX0" fmla="*/ 0 w 2905863"/>
                <a:gd name="connsiteY0" fmla="*/ 0 h 115566"/>
                <a:gd name="connsiteX1" fmla="*/ 2905864 w 2905863"/>
                <a:gd name="connsiteY1" fmla="*/ 0 h 115566"/>
                <a:gd name="connsiteX2" fmla="*/ 2905864 w 2905863"/>
                <a:gd name="connsiteY2" fmla="*/ 115566 h 115566"/>
                <a:gd name="connsiteX3" fmla="*/ 0 w 2905863"/>
                <a:gd name="connsiteY3" fmla="*/ 115566 h 115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115566">
                  <a:moveTo>
                    <a:pt x="0" y="0"/>
                  </a:moveTo>
                  <a:lnTo>
                    <a:pt x="2905864" y="0"/>
                  </a:lnTo>
                  <a:lnTo>
                    <a:pt x="2905864" y="115566"/>
                  </a:lnTo>
                  <a:lnTo>
                    <a:pt x="0" y="115566"/>
                  </a:lnTo>
                  <a:close/>
                </a:path>
              </a:pathLst>
            </a:custGeom>
            <a:solidFill>
              <a:srgbClr val="00359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9A514272-585B-4DD7-9889-D2AC8F80B3CA}"/>
                </a:ext>
              </a:extLst>
            </p:cNvPr>
            <p:cNvSpPr/>
            <p:nvPr/>
          </p:nvSpPr>
          <p:spPr>
            <a:xfrm>
              <a:off x="7833598" y="4927183"/>
              <a:ext cx="392545" cy="373134"/>
            </a:xfrm>
            <a:custGeom>
              <a:avLst/>
              <a:gdLst>
                <a:gd name="connsiteX0" fmla="*/ 303984 w 392545"/>
                <a:gd name="connsiteY0" fmla="*/ 19174 h 373134"/>
                <a:gd name="connsiteX1" fmla="*/ 201992 w 392545"/>
                <a:gd name="connsiteY1" fmla="*/ 0 h 373134"/>
                <a:gd name="connsiteX2" fmla="*/ 62173 w 392545"/>
                <a:gd name="connsiteY2" fmla="*/ 0 h 373134"/>
                <a:gd name="connsiteX3" fmla="*/ 27859 w 392545"/>
                <a:gd name="connsiteY3" fmla="*/ 0 h 373134"/>
                <a:gd name="connsiteX4" fmla="*/ 0 w 392545"/>
                <a:gd name="connsiteY4" fmla="*/ 0 h 373134"/>
                <a:gd name="connsiteX5" fmla="*/ 0 w 392545"/>
                <a:gd name="connsiteY5" fmla="*/ 373135 h 373134"/>
                <a:gd name="connsiteX6" fmla="*/ 27859 w 392545"/>
                <a:gd name="connsiteY6" fmla="*/ 373135 h 373134"/>
                <a:gd name="connsiteX7" fmla="*/ 62173 w 392545"/>
                <a:gd name="connsiteY7" fmla="*/ 373135 h 373134"/>
                <a:gd name="connsiteX8" fmla="*/ 201992 w 392545"/>
                <a:gd name="connsiteY8" fmla="*/ 373135 h 373134"/>
                <a:gd name="connsiteX9" fmla="*/ 303984 w 392545"/>
                <a:gd name="connsiteY9" fmla="*/ 353961 h 373134"/>
                <a:gd name="connsiteX10" fmla="*/ 369670 w 392545"/>
                <a:gd name="connsiteY10" fmla="*/ 296249 h 373134"/>
                <a:gd name="connsiteX11" fmla="*/ 392546 w 392545"/>
                <a:gd name="connsiteY11" fmla="*/ 199477 h 373134"/>
                <a:gd name="connsiteX12" fmla="*/ 392546 w 392545"/>
                <a:gd name="connsiteY12" fmla="*/ 173611 h 373134"/>
                <a:gd name="connsiteX13" fmla="*/ 369670 w 392545"/>
                <a:gd name="connsiteY13" fmla="*/ 76839 h 373134"/>
                <a:gd name="connsiteX14" fmla="*/ 303984 w 392545"/>
                <a:gd name="connsiteY14" fmla="*/ 19174 h 373134"/>
                <a:gd name="connsiteX15" fmla="*/ 331369 w 392545"/>
                <a:gd name="connsiteY15" fmla="*/ 197531 h 373134"/>
                <a:gd name="connsiteX16" fmla="*/ 299048 w 392545"/>
                <a:gd name="connsiteY16" fmla="*/ 287563 h 373134"/>
                <a:gd name="connsiteX17" fmla="*/ 202514 w 392545"/>
                <a:gd name="connsiteY17" fmla="*/ 316894 h 373134"/>
                <a:gd name="connsiteX18" fmla="*/ 62221 w 392545"/>
                <a:gd name="connsiteY18" fmla="*/ 316894 h 373134"/>
                <a:gd name="connsiteX19" fmla="*/ 62221 w 392545"/>
                <a:gd name="connsiteY19" fmla="*/ 56193 h 373134"/>
                <a:gd name="connsiteX20" fmla="*/ 202514 w 392545"/>
                <a:gd name="connsiteY20" fmla="*/ 56193 h 373134"/>
                <a:gd name="connsiteX21" fmla="*/ 299048 w 392545"/>
                <a:gd name="connsiteY21" fmla="*/ 84812 h 373134"/>
                <a:gd name="connsiteX22" fmla="*/ 331369 w 392545"/>
                <a:gd name="connsiteY22" fmla="*/ 175604 h 373134"/>
                <a:gd name="connsiteX23" fmla="*/ 331369 w 392545"/>
                <a:gd name="connsiteY23" fmla="*/ 197531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2545" h="373134">
                  <a:moveTo>
                    <a:pt x="303984" y="19174"/>
                  </a:moveTo>
                  <a:cubicBezTo>
                    <a:pt x="275461" y="6407"/>
                    <a:pt x="241479" y="0"/>
                    <a:pt x="201992" y="0"/>
                  </a:cubicBezTo>
                  <a:lnTo>
                    <a:pt x="62173" y="0"/>
                  </a:lnTo>
                  <a:lnTo>
                    <a:pt x="27859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27859" y="373135"/>
                  </a:lnTo>
                  <a:lnTo>
                    <a:pt x="62173" y="373135"/>
                  </a:lnTo>
                  <a:lnTo>
                    <a:pt x="201992" y="373135"/>
                  </a:lnTo>
                  <a:cubicBezTo>
                    <a:pt x="241479" y="373135"/>
                    <a:pt x="275461" y="366728"/>
                    <a:pt x="303984" y="353961"/>
                  </a:cubicBezTo>
                  <a:cubicBezTo>
                    <a:pt x="332508" y="341194"/>
                    <a:pt x="354387" y="321972"/>
                    <a:pt x="369670" y="296249"/>
                  </a:cubicBezTo>
                  <a:cubicBezTo>
                    <a:pt x="384904" y="270525"/>
                    <a:pt x="392546" y="238299"/>
                    <a:pt x="392546" y="199477"/>
                  </a:cubicBezTo>
                  <a:lnTo>
                    <a:pt x="392546" y="173611"/>
                  </a:lnTo>
                  <a:cubicBezTo>
                    <a:pt x="392546" y="134788"/>
                    <a:pt x="384904" y="102562"/>
                    <a:pt x="369670" y="76839"/>
                  </a:cubicBezTo>
                  <a:cubicBezTo>
                    <a:pt x="354387" y="51162"/>
                    <a:pt x="332508" y="31941"/>
                    <a:pt x="303984" y="19174"/>
                  </a:cubicBezTo>
                  <a:close/>
                  <a:moveTo>
                    <a:pt x="331369" y="197531"/>
                  </a:moveTo>
                  <a:cubicBezTo>
                    <a:pt x="331369" y="238015"/>
                    <a:pt x="320596" y="268010"/>
                    <a:pt x="299048" y="287563"/>
                  </a:cubicBezTo>
                  <a:cubicBezTo>
                    <a:pt x="277502" y="307117"/>
                    <a:pt x="245323" y="316894"/>
                    <a:pt x="202514" y="316894"/>
                  </a:cubicBezTo>
                  <a:lnTo>
                    <a:pt x="62221" y="316894"/>
                  </a:lnTo>
                  <a:lnTo>
                    <a:pt x="62221" y="56193"/>
                  </a:lnTo>
                  <a:lnTo>
                    <a:pt x="202514" y="56193"/>
                  </a:lnTo>
                  <a:cubicBezTo>
                    <a:pt x="245323" y="56193"/>
                    <a:pt x="277454" y="65733"/>
                    <a:pt x="299048" y="84812"/>
                  </a:cubicBezTo>
                  <a:cubicBezTo>
                    <a:pt x="320596" y="103891"/>
                    <a:pt x="331369" y="134171"/>
                    <a:pt x="331369" y="175604"/>
                  </a:cubicBezTo>
                  <a:lnTo>
                    <a:pt x="331369" y="197531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71817243-274B-4667-95B7-949DA44CEC38}"/>
                </a:ext>
              </a:extLst>
            </p:cNvPr>
            <p:cNvSpPr/>
            <p:nvPr/>
          </p:nvSpPr>
          <p:spPr>
            <a:xfrm>
              <a:off x="8344036" y="4927183"/>
              <a:ext cx="410485" cy="373134"/>
            </a:xfrm>
            <a:custGeom>
              <a:avLst/>
              <a:gdLst>
                <a:gd name="connsiteX0" fmla="*/ 349262 w 410485"/>
                <a:gd name="connsiteY0" fmla="*/ 291598 h 373134"/>
                <a:gd name="connsiteX1" fmla="*/ 60702 w 410485"/>
                <a:gd name="connsiteY1" fmla="*/ 0 h 373134"/>
                <a:gd name="connsiteX2" fmla="*/ 26388 w 410485"/>
                <a:gd name="connsiteY2" fmla="*/ 0 h 373134"/>
                <a:gd name="connsiteX3" fmla="*/ 0 w 410485"/>
                <a:gd name="connsiteY3" fmla="*/ 0 h 373134"/>
                <a:gd name="connsiteX4" fmla="*/ 0 w 410485"/>
                <a:gd name="connsiteY4" fmla="*/ 373135 h 373134"/>
                <a:gd name="connsiteX5" fmla="*/ 60702 w 410485"/>
                <a:gd name="connsiteY5" fmla="*/ 373135 h 373134"/>
                <a:gd name="connsiteX6" fmla="*/ 60702 w 410485"/>
                <a:gd name="connsiteY6" fmla="*/ 81917 h 373134"/>
                <a:gd name="connsiteX7" fmla="*/ 349262 w 410485"/>
                <a:gd name="connsiteY7" fmla="*/ 373135 h 373134"/>
                <a:gd name="connsiteX8" fmla="*/ 410486 w 410485"/>
                <a:gd name="connsiteY8" fmla="*/ 373135 h 373134"/>
                <a:gd name="connsiteX9" fmla="*/ 410486 w 410485"/>
                <a:gd name="connsiteY9" fmla="*/ 0 h 373134"/>
                <a:gd name="connsiteX10" fmla="*/ 349262 w 410485"/>
                <a:gd name="connsiteY10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485" h="373134">
                  <a:moveTo>
                    <a:pt x="349262" y="291598"/>
                  </a:moveTo>
                  <a:lnTo>
                    <a:pt x="60702" y="0"/>
                  </a:lnTo>
                  <a:lnTo>
                    <a:pt x="26388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60702" y="373135"/>
                  </a:lnTo>
                  <a:lnTo>
                    <a:pt x="60702" y="81917"/>
                  </a:lnTo>
                  <a:lnTo>
                    <a:pt x="349262" y="373135"/>
                  </a:lnTo>
                  <a:lnTo>
                    <a:pt x="410486" y="373135"/>
                  </a:lnTo>
                  <a:lnTo>
                    <a:pt x="410486" y="0"/>
                  </a:lnTo>
                  <a:lnTo>
                    <a:pt x="349262" y="0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70A481D-11CB-4EA0-9689-E6D9992AC1CF}"/>
                </a:ext>
              </a:extLst>
            </p:cNvPr>
            <p:cNvSpPr/>
            <p:nvPr/>
          </p:nvSpPr>
          <p:spPr>
            <a:xfrm>
              <a:off x="8863965" y="4927183"/>
              <a:ext cx="421876" cy="373134"/>
            </a:xfrm>
            <a:custGeom>
              <a:avLst/>
              <a:gdLst>
                <a:gd name="connsiteX0" fmla="*/ 355716 w 421876"/>
                <a:gd name="connsiteY0" fmla="*/ 0 h 373134"/>
                <a:gd name="connsiteX1" fmla="*/ 212955 w 421876"/>
                <a:gd name="connsiteY1" fmla="*/ 291598 h 373134"/>
                <a:gd name="connsiteX2" fmla="*/ 70146 w 421876"/>
                <a:gd name="connsiteY2" fmla="*/ 0 h 373134"/>
                <a:gd name="connsiteX3" fmla="*/ 0 w 421876"/>
                <a:gd name="connsiteY3" fmla="*/ 0 h 373134"/>
                <a:gd name="connsiteX4" fmla="*/ 187042 w 421876"/>
                <a:gd name="connsiteY4" fmla="*/ 373135 h 373134"/>
                <a:gd name="connsiteX5" fmla="*/ 235309 w 421876"/>
                <a:gd name="connsiteY5" fmla="*/ 373135 h 373134"/>
                <a:gd name="connsiteX6" fmla="*/ 421876 w 421876"/>
                <a:gd name="connsiteY6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876" h="373134">
                  <a:moveTo>
                    <a:pt x="355716" y="0"/>
                  </a:moveTo>
                  <a:lnTo>
                    <a:pt x="212955" y="291598"/>
                  </a:lnTo>
                  <a:lnTo>
                    <a:pt x="70146" y="0"/>
                  </a:lnTo>
                  <a:lnTo>
                    <a:pt x="0" y="0"/>
                  </a:lnTo>
                  <a:lnTo>
                    <a:pt x="187042" y="373135"/>
                  </a:lnTo>
                  <a:lnTo>
                    <a:pt x="235309" y="373135"/>
                  </a:lnTo>
                  <a:lnTo>
                    <a:pt x="421876" y="0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5714368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60000" y="685800"/>
            <a:ext cx="6138000" cy="3452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60000" y="4343400"/>
            <a:ext cx="61380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Date Placeholder 8">
            <a:extLst>
              <a:ext uri="{FF2B5EF4-FFF2-40B4-BE49-F238E27FC236}">
                <a16:creationId xmlns:a16="http://schemas.microsoft.com/office/drawing/2014/main" id="{2BFA88E3-6CCC-4641-A98D-7398F6E1AE6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8752305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01 June 2023</a:t>
            </a:fld>
            <a:endParaRPr lang="en-GB" sz="800" dirty="0"/>
          </a:p>
        </p:txBody>
      </p:sp>
      <p:sp>
        <p:nvSpPr>
          <p:cNvPr id="9" name="Slide Number Placeholder 9">
            <a:extLst>
              <a:ext uri="{FF2B5EF4-FFF2-40B4-BE49-F238E27FC236}">
                <a16:creationId xmlns:a16="http://schemas.microsoft.com/office/drawing/2014/main" id="{F3087DC9-C8CF-4A7D-A808-05173EBAB9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60535" y="8570490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/>
          </a:p>
        </p:txBody>
      </p:sp>
      <p:sp>
        <p:nvSpPr>
          <p:cNvPr id="10" name="Footer Placeholder 10">
            <a:extLst>
              <a:ext uri="{FF2B5EF4-FFF2-40B4-BE49-F238E27FC236}">
                <a16:creationId xmlns:a16="http://schemas.microsoft.com/office/drawing/2014/main" id="{D3E5D5B4-5B5B-4A78-9FBF-121492410DA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53656" y="8752305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11" name="Header Placeholder 12">
            <a:extLst>
              <a:ext uri="{FF2B5EF4-FFF2-40B4-BE49-F238E27FC236}">
                <a16:creationId xmlns:a16="http://schemas.microsoft.com/office/drawing/2014/main" id="{AB4E7CF5-96AC-4C46-8B0F-AA454984BA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53656" y="8570490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3048784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/>
          </a:p>
          <a:p>
            <a:endParaRPr lang="en-GB" baseline="0" dirty="0"/>
          </a:p>
          <a:p>
            <a:endParaRPr lang="en-GB" baseline="0" dirty="0"/>
          </a:p>
          <a:p>
            <a:endParaRPr lang="en-GB" baseline="0" dirty="0"/>
          </a:p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403A7EE-D85D-4A57-AC35-1ACDC345A13C}" type="slidenum">
              <a:rPr lang="en-US" altLang="de-DE" smtClean="0"/>
              <a:pPr>
                <a:defRPr/>
              </a:pPr>
              <a:t>1</a:t>
            </a:fld>
            <a:endParaRPr lang="en-US" alt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altLang="de-DE" dirty="0"/>
              <a:t>(c) DNV</a:t>
            </a:r>
          </a:p>
        </p:txBody>
      </p:sp>
    </p:spTree>
    <p:extLst>
      <p:ext uri="{BB962C8B-B14F-4D97-AF65-F5344CB8AC3E}">
        <p14:creationId xmlns:p14="http://schemas.microsoft.com/office/powerpoint/2010/main" val="32168139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68580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0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20844596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68580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r>
              <a:rPr lang="en-GB" sz="2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NV’s Maritime Cyber Priority research explores the changing attitudes and approaches to cyber security in key industrial sectors. The research draws on surveys of industry professionals complemented by in-depth interviews with leaders and experts. </a:t>
            </a:r>
            <a:r>
              <a:rPr lang="en-US" sz="2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endParaRPr lang="en-US" sz="2800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en-GB" sz="2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 June 2023, we will publish the latest edition of the research</a:t>
            </a:r>
            <a:endParaRPr lang="en-US" sz="2800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nb-NO" sz="2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endParaRPr lang="nb-NO" sz="2800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en-GB" sz="2800" b="1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Maritime Cyber Priority 2023: Staying secure in an era of connectivity</a:t>
            </a:r>
            <a:r>
              <a:rPr lang="en-GB" sz="2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endParaRPr lang="en-GB" sz="2800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GB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Research based on a survey of 801 maritime professionals conducted in March and April 2023. </a:t>
            </a:r>
            <a:r>
              <a:rPr lang="en-GB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urvey respondents represent a range of subsectors and functions within the industry, including those with in-depth knowledge of cyber security along with general managers and C-suite executives. </a:t>
            </a:r>
            <a:r>
              <a:rPr lang="en-GB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GB" sz="1800" b="0" i="0" dirty="0">
              <a:solidFill>
                <a:srgbClr val="444444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GB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he survey is complemented by in-depth interviews with leaders and experts from the likes of the US Coast Guard, </a:t>
            </a:r>
            <a:r>
              <a:rPr lang="en-GB" sz="18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Wärtsilä</a:t>
            </a:r>
            <a:r>
              <a:rPr lang="en-GB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, Meyer </a:t>
            </a:r>
            <a:r>
              <a:rPr lang="en-GB" sz="1800" b="0" i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Werft</a:t>
            </a:r>
            <a:r>
              <a:rPr lang="en-GB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, Yinson, Bundeswehr (German navy), Stena Drilling, Beazley, Hamburg Port Authority, UK Chamber of Shipping, and DNV.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endParaRPr lang="en-US" sz="1800" b="0" i="0" dirty="0">
              <a:solidFill>
                <a:srgbClr val="444444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GB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We bring this together with DNV experience and expertise.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endParaRPr lang="nb-NO" sz="1800" b="0" i="0" dirty="0">
              <a:solidFill>
                <a:srgbClr val="444444"/>
              </a:solidFill>
              <a:effectLst/>
              <a:latin typeface="Arial" panose="020B0604020202020204" pitchFamily="34" charset="0"/>
            </a:endParaRPr>
          </a:p>
          <a:p>
            <a:pPr algn="l" rtl="0" fontAlgn="base"/>
            <a:r>
              <a:rPr lang="en-GB" sz="2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endParaRPr lang="en-GB" sz="2800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1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93207704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85738" y="833438"/>
            <a:ext cx="7407276" cy="4167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403A7EE-D85D-4A57-AC35-1ACDC345A13C}" type="slidenum">
              <a:rPr lang="en-US" altLang="de-DE" smtClean="0"/>
              <a:pPr>
                <a:defRPr/>
              </a:pPr>
              <a:t>12</a:t>
            </a:fld>
            <a:endParaRPr lang="en-US" alt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dirty="0"/>
              <a:t>(c) DNV</a:t>
            </a:r>
          </a:p>
        </p:txBody>
      </p:sp>
    </p:spTree>
    <p:extLst>
      <p:ext uri="{BB962C8B-B14F-4D97-AF65-F5344CB8AC3E}">
        <p14:creationId xmlns:p14="http://schemas.microsoft.com/office/powerpoint/2010/main" val="21745087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68580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0573FD-80B3-41F4-A02A-91DAB7EB814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39079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68580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irstly, today safety in shipping heavily depends on cyber systems.</a:t>
            </a:r>
            <a:endParaRPr lang="en-GB" dirty="0">
              <a:solidFill>
                <a:srgbClr val="333333"/>
              </a:solidFill>
              <a:latin typeface="Broader View" panose="020D0605040000000003" pitchFamily="34" charset="0"/>
            </a:endParaRPr>
          </a:p>
          <a:p>
            <a:pPr defTabSz="983148">
              <a:defRPr/>
            </a:pPr>
            <a:r>
              <a:rPr lang="en-US" dirty="0"/>
              <a:t>Many of these systems are not only business critical, they also have a significant safety impact.</a:t>
            </a:r>
          </a:p>
          <a:p>
            <a:pPr defTabSz="983148">
              <a:defRPr/>
            </a:pPr>
            <a:endParaRPr lang="en-GB" dirty="0"/>
          </a:p>
          <a:p>
            <a:r>
              <a:rPr lang="en-GB" dirty="0"/>
              <a:t>In addition to what we normally think of when talking about</a:t>
            </a:r>
            <a:r>
              <a:rPr lang="en-GB" baseline="0" dirty="0"/>
              <a:t> cyber security, such as IT networks, email…., on board a ship, cyber security is also affecting the operational technology, such as PLCs (Automation) and navigation equipment…</a:t>
            </a:r>
          </a:p>
          <a:p>
            <a:r>
              <a:rPr lang="en-GB" baseline="0" dirty="0"/>
              <a:t>Cyber security is the art of addressing the risks for </a:t>
            </a:r>
            <a:r>
              <a:rPr lang="en-GB" b="1" baseline="0" dirty="0"/>
              <a:t>both</a:t>
            </a:r>
            <a:r>
              <a:rPr lang="en-GB" baseline="0" dirty="0"/>
              <a:t> the IT &amp; OT systems.</a:t>
            </a:r>
          </a:p>
          <a:p>
            <a:pPr defTabSz="990478"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13091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68580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73592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68580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, cyber security threats are</a:t>
            </a:r>
            <a:r>
              <a:rPr lang="en-GB" baseline="0" dirty="0"/>
              <a:t> progressing and there has been a number of cases, as illustrated in the figure, confirming the impact on the maritime industry.</a:t>
            </a:r>
          </a:p>
          <a:p>
            <a:r>
              <a:rPr lang="en-GB" baseline="0" dirty="0"/>
              <a:t>Add  FireEyes.</a:t>
            </a:r>
          </a:p>
          <a:p>
            <a:endParaRPr lang="en-GB" baseline="0" dirty="0"/>
          </a:p>
          <a:p>
            <a:endParaRPr lang="en-GB" baseline="0" dirty="0"/>
          </a:p>
          <a:p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21554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403A7EE-D85D-4A57-AC35-1ACDC345A13C}" type="slidenum">
              <a:rPr lang="de-DE" altLang="de-DE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de-DE" altLang="de-DE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altLang="de-DE" dirty="0">
                <a:solidFill>
                  <a:srgbClr val="000000"/>
                </a:solidFill>
              </a:rPr>
              <a:t>(c) DNV</a:t>
            </a:r>
          </a:p>
        </p:txBody>
      </p:sp>
    </p:spTree>
    <p:extLst>
      <p:ext uri="{BB962C8B-B14F-4D97-AF65-F5344CB8AC3E}">
        <p14:creationId xmlns:p14="http://schemas.microsoft.com/office/powerpoint/2010/main" val="19544182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68580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90478">
              <a:defRPr/>
            </a:pPr>
            <a:r>
              <a:rPr lang="en-GB" dirty="0"/>
              <a:t>Not suggesting which are the topics to be addressed in the SMS to ensure effective and relevant cyber risk management onboard a vessel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78169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68580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new DNV RP on Cyber</a:t>
            </a:r>
            <a:r>
              <a:rPr lang="en-GB" baseline="0" dirty="0"/>
              <a:t> Security – how does it work ?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>
                <a:solidFill>
                  <a:prstClr val="black"/>
                </a:solidFill>
              </a:rPr>
              <a:pPr/>
              <a:t>8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1571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68580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ne focus on DNV-RP-0496, as a comprehensive help for achieving cybersecurity resilience, bringing together the various guidelines to produce a useful method and way forward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6372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2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4.sv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6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7" Type="http://schemas.openxmlformats.org/officeDocument/2006/relationships/image" Target="../media/image4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3.pn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Graphic 27">
            <a:extLst>
              <a:ext uri="{FF2B5EF4-FFF2-40B4-BE49-F238E27FC236}">
                <a16:creationId xmlns:a16="http://schemas.microsoft.com/office/drawing/2014/main" id="{5AD30D56-7424-4830-ABBC-E1CCEDA7A2D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922" r="24420" b="6742"/>
          <a:stretch>
            <a:fillRect/>
          </a:stretch>
        </p:blipFill>
        <p:spPr>
          <a:xfrm>
            <a:off x="3600000" y="0"/>
            <a:ext cx="8592000" cy="6858000"/>
          </a:xfrm>
          <a:custGeom>
            <a:avLst/>
            <a:gdLst>
              <a:gd name="connsiteX0" fmla="*/ 0 w 8592000"/>
              <a:gd name="connsiteY0" fmla="*/ 0 h 6858000"/>
              <a:gd name="connsiteX1" fmla="*/ 8592000 w 8592000"/>
              <a:gd name="connsiteY1" fmla="*/ 0 h 6858000"/>
              <a:gd name="connsiteX2" fmla="*/ 8592000 w 8592000"/>
              <a:gd name="connsiteY2" fmla="*/ 6858000 h 6858000"/>
              <a:gd name="connsiteX3" fmla="*/ 0 w 85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92000" h="6858000">
                <a:moveTo>
                  <a:pt x="0" y="0"/>
                </a:moveTo>
                <a:lnTo>
                  <a:pt x="8592000" y="0"/>
                </a:lnTo>
                <a:lnTo>
                  <a:pt x="85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grpSp>
        <p:nvGrpSpPr>
          <p:cNvPr id="21" name="Logo">
            <a:extLst>
              <a:ext uri="{FF2B5EF4-FFF2-40B4-BE49-F238E27FC236}">
                <a16:creationId xmlns:a16="http://schemas.microsoft.com/office/drawing/2014/main" id="{1E1CB065-BC3E-419D-8CD5-6001359B1AF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39751" y="540001"/>
            <a:ext cx="1702800" cy="727237"/>
            <a:chOff x="6380216" y="4059273"/>
            <a:chExt cx="2905863" cy="1241045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0EF3EE0-04F6-4F0F-9C30-138E10130D0D}"/>
                </a:ext>
              </a:extLst>
            </p:cNvPr>
            <p:cNvSpPr/>
            <p:nvPr/>
          </p:nvSpPr>
          <p:spPr>
            <a:xfrm>
              <a:off x="6380216" y="4059273"/>
              <a:ext cx="2905863" cy="346936"/>
            </a:xfrm>
            <a:custGeom>
              <a:avLst/>
              <a:gdLst>
                <a:gd name="connsiteX0" fmla="*/ 0 w 2905863"/>
                <a:gd name="connsiteY0" fmla="*/ 0 h 346936"/>
                <a:gd name="connsiteX1" fmla="*/ 2905864 w 2905863"/>
                <a:gd name="connsiteY1" fmla="*/ 0 h 346936"/>
                <a:gd name="connsiteX2" fmla="*/ 2905864 w 2905863"/>
                <a:gd name="connsiteY2" fmla="*/ 346937 h 346936"/>
                <a:gd name="connsiteX3" fmla="*/ 0 w 2905863"/>
                <a:gd name="connsiteY3" fmla="*/ 346937 h 34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346936">
                  <a:moveTo>
                    <a:pt x="0" y="0"/>
                  </a:moveTo>
                  <a:lnTo>
                    <a:pt x="2905864" y="0"/>
                  </a:lnTo>
                  <a:lnTo>
                    <a:pt x="2905864" y="346937"/>
                  </a:lnTo>
                  <a:lnTo>
                    <a:pt x="0" y="346937"/>
                  </a:lnTo>
                  <a:close/>
                </a:path>
              </a:pathLst>
            </a:custGeom>
            <a:solidFill>
              <a:srgbClr val="99D9F0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9F265DC-74E8-4BFF-92A1-092ADEFABD8A}"/>
                </a:ext>
              </a:extLst>
            </p:cNvPr>
            <p:cNvSpPr/>
            <p:nvPr/>
          </p:nvSpPr>
          <p:spPr>
            <a:xfrm>
              <a:off x="6380216" y="4521775"/>
              <a:ext cx="2905863" cy="57854"/>
            </a:xfrm>
            <a:custGeom>
              <a:avLst/>
              <a:gdLst>
                <a:gd name="connsiteX0" fmla="*/ 0 w 2905863"/>
                <a:gd name="connsiteY0" fmla="*/ 0 h 57854"/>
                <a:gd name="connsiteX1" fmla="*/ 2905864 w 2905863"/>
                <a:gd name="connsiteY1" fmla="*/ 0 h 57854"/>
                <a:gd name="connsiteX2" fmla="*/ 2905864 w 2905863"/>
                <a:gd name="connsiteY2" fmla="*/ 57854 h 57854"/>
                <a:gd name="connsiteX3" fmla="*/ 0 w 2905863"/>
                <a:gd name="connsiteY3" fmla="*/ 57854 h 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57854">
                  <a:moveTo>
                    <a:pt x="0" y="0"/>
                  </a:moveTo>
                  <a:lnTo>
                    <a:pt x="2905864" y="0"/>
                  </a:lnTo>
                  <a:lnTo>
                    <a:pt x="2905864" y="57854"/>
                  </a:lnTo>
                  <a:lnTo>
                    <a:pt x="0" y="57854"/>
                  </a:lnTo>
                  <a:close/>
                </a:path>
              </a:pathLst>
            </a:custGeom>
            <a:solidFill>
              <a:srgbClr val="3F9C35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39C07ABC-F814-4A0D-B933-8FF8308531B7}"/>
                </a:ext>
              </a:extLst>
            </p:cNvPr>
            <p:cNvSpPr/>
            <p:nvPr/>
          </p:nvSpPr>
          <p:spPr>
            <a:xfrm>
              <a:off x="6380216" y="4637294"/>
              <a:ext cx="2905863" cy="115566"/>
            </a:xfrm>
            <a:custGeom>
              <a:avLst/>
              <a:gdLst>
                <a:gd name="connsiteX0" fmla="*/ 0 w 2905863"/>
                <a:gd name="connsiteY0" fmla="*/ 0 h 115566"/>
                <a:gd name="connsiteX1" fmla="*/ 2905864 w 2905863"/>
                <a:gd name="connsiteY1" fmla="*/ 0 h 115566"/>
                <a:gd name="connsiteX2" fmla="*/ 2905864 w 2905863"/>
                <a:gd name="connsiteY2" fmla="*/ 115566 h 115566"/>
                <a:gd name="connsiteX3" fmla="*/ 0 w 2905863"/>
                <a:gd name="connsiteY3" fmla="*/ 115566 h 115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115566">
                  <a:moveTo>
                    <a:pt x="0" y="0"/>
                  </a:moveTo>
                  <a:lnTo>
                    <a:pt x="2905864" y="0"/>
                  </a:lnTo>
                  <a:lnTo>
                    <a:pt x="2905864" y="115566"/>
                  </a:lnTo>
                  <a:lnTo>
                    <a:pt x="0" y="115566"/>
                  </a:lnTo>
                  <a:close/>
                </a:path>
              </a:pathLst>
            </a:custGeom>
            <a:solidFill>
              <a:srgbClr val="00359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C74A0EA-43E9-4563-A55A-F825A81DC14D}"/>
                </a:ext>
              </a:extLst>
            </p:cNvPr>
            <p:cNvSpPr/>
            <p:nvPr/>
          </p:nvSpPr>
          <p:spPr>
            <a:xfrm>
              <a:off x="7833598" y="4927183"/>
              <a:ext cx="392545" cy="373134"/>
            </a:xfrm>
            <a:custGeom>
              <a:avLst/>
              <a:gdLst>
                <a:gd name="connsiteX0" fmla="*/ 303984 w 392545"/>
                <a:gd name="connsiteY0" fmla="*/ 19174 h 373134"/>
                <a:gd name="connsiteX1" fmla="*/ 201992 w 392545"/>
                <a:gd name="connsiteY1" fmla="*/ 0 h 373134"/>
                <a:gd name="connsiteX2" fmla="*/ 62173 w 392545"/>
                <a:gd name="connsiteY2" fmla="*/ 0 h 373134"/>
                <a:gd name="connsiteX3" fmla="*/ 27859 w 392545"/>
                <a:gd name="connsiteY3" fmla="*/ 0 h 373134"/>
                <a:gd name="connsiteX4" fmla="*/ 0 w 392545"/>
                <a:gd name="connsiteY4" fmla="*/ 0 h 373134"/>
                <a:gd name="connsiteX5" fmla="*/ 0 w 392545"/>
                <a:gd name="connsiteY5" fmla="*/ 373135 h 373134"/>
                <a:gd name="connsiteX6" fmla="*/ 27859 w 392545"/>
                <a:gd name="connsiteY6" fmla="*/ 373135 h 373134"/>
                <a:gd name="connsiteX7" fmla="*/ 62173 w 392545"/>
                <a:gd name="connsiteY7" fmla="*/ 373135 h 373134"/>
                <a:gd name="connsiteX8" fmla="*/ 201992 w 392545"/>
                <a:gd name="connsiteY8" fmla="*/ 373135 h 373134"/>
                <a:gd name="connsiteX9" fmla="*/ 303984 w 392545"/>
                <a:gd name="connsiteY9" fmla="*/ 353961 h 373134"/>
                <a:gd name="connsiteX10" fmla="*/ 369670 w 392545"/>
                <a:gd name="connsiteY10" fmla="*/ 296249 h 373134"/>
                <a:gd name="connsiteX11" fmla="*/ 392546 w 392545"/>
                <a:gd name="connsiteY11" fmla="*/ 199477 h 373134"/>
                <a:gd name="connsiteX12" fmla="*/ 392546 w 392545"/>
                <a:gd name="connsiteY12" fmla="*/ 173611 h 373134"/>
                <a:gd name="connsiteX13" fmla="*/ 369670 w 392545"/>
                <a:gd name="connsiteY13" fmla="*/ 76839 h 373134"/>
                <a:gd name="connsiteX14" fmla="*/ 303984 w 392545"/>
                <a:gd name="connsiteY14" fmla="*/ 19174 h 373134"/>
                <a:gd name="connsiteX15" fmla="*/ 331369 w 392545"/>
                <a:gd name="connsiteY15" fmla="*/ 197531 h 373134"/>
                <a:gd name="connsiteX16" fmla="*/ 299048 w 392545"/>
                <a:gd name="connsiteY16" fmla="*/ 287563 h 373134"/>
                <a:gd name="connsiteX17" fmla="*/ 202514 w 392545"/>
                <a:gd name="connsiteY17" fmla="*/ 316894 h 373134"/>
                <a:gd name="connsiteX18" fmla="*/ 62221 w 392545"/>
                <a:gd name="connsiteY18" fmla="*/ 316894 h 373134"/>
                <a:gd name="connsiteX19" fmla="*/ 62221 w 392545"/>
                <a:gd name="connsiteY19" fmla="*/ 56193 h 373134"/>
                <a:gd name="connsiteX20" fmla="*/ 202514 w 392545"/>
                <a:gd name="connsiteY20" fmla="*/ 56193 h 373134"/>
                <a:gd name="connsiteX21" fmla="*/ 299048 w 392545"/>
                <a:gd name="connsiteY21" fmla="*/ 84812 h 373134"/>
                <a:gd name="connsiteX22" fmla="*/ 331369 w 392545"/>
                <a:gd name="connsiteY22" fmla="*/ 175604 h 373134"/>
                <a:gd name="connsiteX23" fmla="*/ 331369 w 392545"/>
                <a:gd name="connsiteY23" fmla="*/ 197531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2545" h="373134">
                  <a:moveTo>
                    <a:pt x="303984" y="19174"/>
                  </a:moveTo>
                  <a:cubicBezTo>
                    <a:pt x="275461" y="6407"/>
                    <a:pt x="241479" y="0"/>
                    <a:pt x="201992" y="0"/>
                  </a:cubicBezTo>
                  <a:lnTo>
                    <a:pt x="62173" y="0"/>
                  </a:lnTo>
                  <a:lnTo>
                    <a:pt x="27859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27859" y="373135"/>
                  </a:lnTo>
                  <a:lnTo>
                    <a:pt x="62173" y="373135"/>
                  </a:lnTo>
                  <a:lnTo>
                    <a:pt x="201992" y="373135"/>
                  </a:lnTo>
                  <a:cubicBezTo>
                    <a:pt x="241479" y="373135"/>
                    <a:pt x="275461" y="366728"/>
                    <a:pt x="303984" y="353961"/>
                  </a:cubicBezTo>
                  <a:cubicBezTo>
                    <a:pt x="332508" y="341194"/>
                    <a:pt x="354387" y="321972"/>
                    <a:pt x="369670" y="296249"/>
                  </a:cubicBezTo>
                  <a:cubicBezTo>
                    <a:pt x="384904" y="270525"/>
                    <a:pt x="392546" y="238299"/>
                    <a:pt x="392546" y="199477"/>
                  </a:cubicBezTo>
                  <a:lnTo>
                    <a:pt x="392546" y="173611"/>
                  </a:lnTo>
                  <a:cubicBezTo>
                    <a:pt x="392546" y="134788"/>
                    <a:pt x="384904" y="102562"/>
                    <a:pt x="369670" y="76839"/>
                  </a:cubicBezTo>
                  <a:cubicBezTo>
                    <a:pt x="354387" y="51162"/>
                    <a:pt x="332508" y="31941"/>
                    <a:pt x="303984" y="19174"/>
                  </a:cubicBezTo>
                  <a:close/>
                  <a:moveTo>
                    <a:pt x="331369" y="197531"/>
                  </a:moveTo>
                  <a:cubicBezTo>
                    <a:pt x="331369" y="238015"/>
                    <a:pt x="320596" y="268010"/>
                    <a:pt x="299048" y="287563"/>
                  </a:cubicBezTo>
                  <a:cubicBezTo>
                    <a:pt x="277502" y="307117"/>
                    <a:pt x="245323" y="316894"/>
                    <a:pt x="202514" y="316894"/>
                  </a:cubicBezTo>
                  <a:lnTo>
                    <a:pt x="62221" y="316894"/>
                  </a:lnTo>
                  <a:lnTo>
                    <a:pt x="62221" y="56193"/>
                  </a:lnTo>
                  <a:lnTo>
                    <a:pt x="202514" y="56193"/>
                  </a:lnTo>
                  <a:cubicBezTo>
                    <a:pt x="245323" y="56193"/>
                    <a:pt x="277454" y="65733"/>
                    <a:pt x="299048" y="84812"/>
                  </a:cubicBezTo>
                  <a:cubicBezTo>
                    <a:pt x="320596" y="103891"/>
                    <a:pt x="331369" y="134171"/>
                    <a:pt x="331369" y="175604"/>
                  </a:cubicBezTo>
                  <a:lnTo>
                    <a:pt x="331369" y="197531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8704FAE-A924-4ACA-BF5E-2A8B00053817}"/>
                </a:ext>
              </a:extLst>
            </p:cNvPr>
            <p:cNvSpPr/>
            <p:nvPr/>
          </p:nvSpPr>
          <p:spPr>
            <a:xfrm>
              <a:off x="8344036" y="4927183"/>
              <a:ext cx="410485" cy="373134"/>
            </a:xfrm>
            <a:custGeom>
              <a:avLst/>
              <a:gdLst>
                <a:gd name="connsiteX0" fmla="*/ 349262 w 410485"/>
                <a:gd name="connsiteY0" fmla="*/ 291598 h 373134"/>
                <a:gd name="connsiteX1" fmla="*/ 60702 w 410485"/>
                <a:gd name="connsiteY1" fmla="*/ 0 h 373134"/>
                <a:gd name="connsiteX2" fmla="*/ 26388 w 410485"/>
                <a:gd name="connsiteY2" fmla="*/ 0 h 373134"/>
                <a:gd name="connsiteX3" fmla="*/ 0 w 410485"/>
                <a:gd name="connsiteY3" fmla="*/ 0 h 373134"/>
                <a:gd name="connsiteX4" fmla="*/ 0 w 410485"/>
                <a:gd name="connsiteY4" fmla="*/ 373135 h 373134"/>
                <a:gd name="connsiteX5" fmla="*/ 60702 w 410485"/>
                <a:gd name="connsiteY5" fmla="*/ 373135 h 373134"/>
                <a:gd name="connsiteX6" fmla="*/ 60702 w 410485"/>
                <a:gd name="connsiteY6" fmla="*/ 81917 h 373134"/>
                <a:gd name="connsiteX7" fmla="*/ 349262 w 410485"/>
                <a:gd name="connsiteY7" fmla="*/ 373135 h 373134"/>
                <a:gd name="connsiteX8" fmla="*/ 410486 w 410485"/>
                <a:gd name="connsiteY8" fmla="*/ 373135 h 373134"/>
                <a:gd name="connsiteX9" fmla="*/ 410486 w 410485"/>
                <a:gd name="connsiteY9" fmla="*/ 0 h 373134"/>
                <a:gd name="connsiteX10" fmla="*/ 349262 w 410485"/>
                <a:gd name="connsiteY10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485" h="373134">
                  <a:moveTo>
                    <a:pt x="349262" y="291598"/>
                  </a:moveTo>
                  <a:lnTo>
                    <a:pt x="60702" y="0"/>
                  </a:lnTo>
                  <a:lnTo>
                    <a:pt x="26388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60702" y="373135"/>
                  </a:lnTo>
                  <a:lnTo>
                    <a:pt x="60702" y="81917"/>
                  </a:lnTo>
                  <a:lnTo>
                    <a:pt x="349262" y="373135"/>
                  </a:lnTo>
                  <a:lnTo>
                    <a:pt x="410486" y="373135"/>
                  </a:lnTo>
                  <a:lnTo>
                    <a:pt x="410486" y="0"/>
                  </a:lnTo>
                  <a:lnTo>
                    <a:pt x="349262" y="0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4A7CF80-4160-43E8-868F-65E74933C8A6}"/>
                </a:ext>
              </a:extLst>
            </p:cNvPr>
            <p:cNvSpPr/>
            <p:nvPr/>
          </p:nvSpPr>
          <p:spPr>
            <a:xfrm>
              <a:off x="8863965" y="4927183"/>
              <a:ext cx="421876" cy="373134"/>
            </a:xfrm>
            <a:custGeom>
              <a:avLst/>
              <a:gdLst>
                <a:gd name="connsiteX0" fmla="*/ 355716 w 421876"/>
                <a:gd name="connsiteY0" fmla="*/ 0 h 373134"/>
                <a:gd name="connsiteX1" fmla="*/ 212955 w 421876"/>
                <a:gd name="connsiteY1" fmla="*/ 291598 h 373134"/>
                <a:gd name="connsiteX2" fmla="*/ 70146 w 421876"/>
                <a:gd name="connsiteY2" fmla="*/ 0 h 373134"/>
                <a:gd name="connsiteX3" fmla="*/ 0 w 421876"/>
                <a:gd name="connsiteY3" fmla="*/ 0 h 373134"/>
                <a:gd name="connsiteX4" fmla="*/ 187042 w 421876"/>
                <a:gd name="connsiteY4" fmla="*/ 373135 h 373134"/>
                <a:gd name="connsiteX5" fmla="*/ 235309 w 421876"/>
                <a:gd name="connsiteY5" fmla="*/ 373135 h 373134"/>
                <a:gd name="connsiteX6" fmla="*/ 421876 w 421876"/>
                <a:gd name="connsiteY6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876" h="373134">
                  <a:moveTo>
                    <a:pt x="355716" y="0"/>
                  </a:moveTo>
                  <a:lnTo>
                    <a:pt x="212955" y="291598"/>
                  </a:lnTo>
                  <a:lnTo>
                    <a:pt x="70146" y="0"/>
                  </a:lnTo>
                  <a:lnTo>
                    <a:pt x="0" y="0"/>
                  </a:lnTo>
                  <a:lnTo>
                    <a:pt x="187042" y="373135"/>
                  </a:lnTo>
                  <a:lnTo>
                    <a:pt x="235309" y="373135"/>
                  </a:lnTo>
                  <a:lnTo>
                    <a:pt x="421876" y="0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27" name="TAGLINE 60Black">
            <a:extLst>
              <a:ext uri="{FF2B5EF4-FFF2-40B4-BE49-F238E27FC236}">
                <a16:creationId xmlns:a16="http://schemas.microsoft.com/office/drawing/2014/main" id="{3A5FFB45-3585-4395-809E-0CF65EFB70E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48863" y="539750"/>
            <a:ext cx="1703386" cy="1106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9751" y="1730375"/>
            <a:ext cx="8290798" cy="2985625"/>
          </a:xfrm>
        </p:spPr>
        <p:txBody>
          <a:bodyPr anchor="b" anchorCtr="0">
            <a:noAutofit/>
          </a:bodyPr>
          <a:lstStyle>
            <a:lvl1pPr>
              <a:lnSpc>
                <a:spcPct val="83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0000" y="4946400"/>
            <a:ext cx="8290798" cy="648072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ts val="0"/>
              </a:spcBef>
              <a:buNone/>
              <a:defRPr lang="en-US" sz="20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add sub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2D590D-63DF-49A5-B495-2B2E9EA7D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9748" y="5768975"/>
            <a:ext cx="8291049" cy="277813"/>
          </a:xfrm>
        </p:spPr>
        <p:txBody>
          <a:bodyPr anchor="b" anchorCtr="0"/>
          <a:lstStyle>
            <a:lvl1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1pPr>
            <a:lvl2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2pPr>
            <a:lvl3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3pPr>
            <a:lvl4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4pPr>
            <a:lvl5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5pPr>
          </a:lstStyle>
          <a:p>
            <a:pPr lvl="0"/>
            <a:r>
              <a:rPr lang="en-GB"/>
              <a:t>Click to add name, title etc..</a:t>
            </a:r>
            <a:endParaRPr lang="en-GB" dirty="0"/>
          </a:p>
        </p:txBody>
      </p:sp>
      <p:sp>
        <p:nvSpPr>
          <p:cNvPr id="19" name="SD_FLD_DocumentDate">
            <a:extLst>
              <a:ext uri="{FF2B5EF4-FFF2-40B4-BE49-F238E27FC236}">
                <a16:creationId xmlns:a16="http://schemas.microsoft.com/office/drawing/2014/main" id="{33759508-D1FD-40CE-9331-F01D5EE3CCB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40001" y="6161675"/>
            <a:ext cx="8290796" cy="181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l">
              <a:lnSpc>
                <a:spcPct val="83000"/>
              </a:lnSpc>
              <a:spcBef>
                <a:spcPts val="0"/>
              </a:spcBef>
            </a:pPr>
            <a:endParaRPr lang="en-GB" altLang="ja-JP" sz="1400" cap="none" baseline="0" dirty="0">
              <a:solidFill>
                <a:schemeClr val="accent1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9" name="_SD_FLD_DocumentNumber"/>
          <p:cNvSpPr txBox="1">
            <a:spLocks noChangeArrowheads="1"/>
          </p:cNvSpPr>
          <p:nvPr userDrawn="1"/>
        </p:nvSpPr>
        <p:spPr bwMode="auto">
          <a:xfrm>
            <a:off x="540001" y="6440400"/>
            <a:ext cx="1701550" cy="151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l">
              <a:spcBef>
                <a:spcPts val="0"/>
              </a:spcBef>
            </a:pPr>
            <a:endParaRPr lang="en-GB" altLang="ja-JP" sz="700" dirty="0">
              <a:solidFill>
                <a:schemeClr val="accent1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32" name="SD_FLD_Draft" hidden="1">
            <a:extLst>
              <a:ext uri="{FF2B5EF4-FFF2-40B4-BE49-F238E27FC236}">
                <a16:creationId xmlns:a16="http://schemas.microsoft.com/office/drawing/2014/main" id="{F9687746-12E1-43B0-8EEE-BCA876E5FD0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26" name="SD_FLD_Confidentiality">
            <a:extLst>
              <a:ext uri="{FF2B5EF4-FFF2-40B4-BE49-F238E27FC236}">
                <a16:creationId xmlns:a16="http://schemas.microsoft.com/office/drawing/2014/main" id="{2E43B5A0-A24B-4D49-B18D-5419D4E44B91}"/>
              </a:ext>
            </a:extLst>
          </p:cNvPr>
          <p:cNvSpPr/>
          <p:nvPr userDrawn="1"/>
        </p:nvSpPr>
        <p:spPr>
          <a:xfrm>
            <a:off x="7131600" y="6440400"/>
            <a:ext cx="2440800" cy="1512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GB" sz="700" b="0" kern="1200" cap="all" baseline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453930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39750"/>
            <a:ext cx="11110914" cy="584994"/>
          </a:xfrm>
        </p:spPr>
        <p:txBody>
          <a:bodyPr/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749" y="1270188"/>
            <a:ext cx="11110914" cy="4317624"/>
          </a:xfrm>
        </p:spPr>
        <p:txBody>
          <a:bodyPr rIns="0"/>
          <a:lstStyle>
            <a:lvl5pPr>
              <a:defRPr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21" name="Date Placeholder 9">
            <a:extLst>
              <a:ext uri="{FF2B5EF4-FFF2-40B4-BE49-F238E27FC236}">
                <a16:creationId xmlns:a16="http://schemas.microsoft.com/office/drawing/2014/main" id="{7B789876-AAAB-45F0-A71B-C172EB662E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68587" y="6445820"/>
            <a:ext cx="107134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GB" sz="700" smtClean="0">
                <a:solidFill>
                  <a:schemeClr val="accent1"/>
                </a:solidFill>
              </a:defRPr>
            </a:lvl1pPr>
          </a:lstStyle>
          <a:p>
            <a:r>
              <a:rPr lang="en-US"/>
              <a:t>Rev. 1.0</a:t>
            </a:r>
            <a:endParaRPr lang="de-DE" dirty="0"/>
          </a:p>
        </p:txBody>
      </p:sp>
      <p:sp>
        <p:nvSpPr>
          <p:cNvPr id="22" name="Footer Placeholder 11">
            <a:extLst>
              <a:ext uri="{FF2B5EF4-FFF2-40B4-BE49-F238E27FC236}">
                <a16:creationId xmlns:a16="http://schemas.microsoft.com/office/drawing/2014/main" id="{59134FFE-837B-4BBA-9821-5D1791FFE9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0596" y="6439418"/>
            <a:ext cx="834040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700" dirty="0">
                <a:solidFill>
                  <a:schemeClr val="accent1"/>
                </a:solidFill>
              </a:defRPr>
            </a:lvl1pPr>
          </a:lstStyle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23" name="Slide Number Placeholder 12">
            <a:extLst>
              <a:ext uri="{FF2B5EF4-FFF2-40B4-BE49-F238E27FC236}">
                <a16:creationId xmlns:a16="http://schemas.microsoft.com/office/drawing/2014/main" id="{80A399D4-9A8B-4E24-B027-07841C52CF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392" y="644740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700" smtClean="0">
                <a:solidFill>
                  <a:schemeClr val="accent1"/>
                </a:solidFill>
              </a:defRPr>
            </a:lvl1pPr>
          </a:lstStyle>
          <a:p>
            <a:fld id="{300F8F77-4347-4BF0-A9D7-4E51985595AC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14795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87621BA-8EDC-4C18-975C-5EE1161FA8FD}"/>
              </a:ext>
            </a:extLst>
          </p:cNvPr>
          <p:cNvSpPr/>
          <p:nvPr userDrawn="1"/>
        </p:nvSpPr>
        <p:spPr>
          <a:xfrm>
            <a:off x="-10499" y="-3600"/>
            <a:ext cx="12192000" cy="6861600"/>
          </a:xfrm>
          <a:prstGeom prst="rect">
            <a:avLst/>
          </a:prstGeom>
          <a:solidFill>
            <a:srgbClr val="EE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grpSp>
        <p:nvGrpSpPr>
          <p:cNvPr id="9" name="Logo">
            <a:extLst>
              <a:ext uri="{FF2B5EF4-FFF2-40B4-BE49-F238E27FC236}">
                <a16:creationId xmlns:a16="http://schemas.microsoft.com/office/drawing/2014/main" id="{F04E253C-783D-4CA5-8CCB-57C4CC102165}"/>
              </a:ext>
            </a:extLst>
          </p:cNvPr>
          <p:cNvGrpSpPr/>
          <p:nvPr userDrawn="1"/>
        </p:nvGrpSpPr>
        <p:grpSpPr>
          <a:xfrm>
            <a:off x="10893210" y="6350918"/>
            <a:ext cx="755843" cy="322808"/>
            <a:chOff x="6380216" y="4059273"/>
            <a:chExt cx="2905863" cy="1241045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8124B4D-CBE2-46DB-B0AE-2AC98C56E78E}"/>
                </a:ext>
              </a:extLst>
            </p:cNvPr>
            <p:cNvSpPr/>
            <p:nvPr/>
          </p:nvSpPr>
          <p:spPr>
            <a:xfrm>
              <a:off x="6380216" y="4059273"/>
              <a:ext cx="2905863" cy="346936"/>
            </a:xfrm>
            <a:custGeom>
              <a:avLst/>
              <a:gdLst>
                <a:gd name="connsiteX0" fmla="*/ 0 w 2905863"/>
                <a:gd name="connsiteY0" fmla="*/ 0 h 346936"/>
                <a:gd name="connsiteX1" fmla="*/ 2905864 w 2905863"/>
                <a:gd name="connsiteY1" fmla="*/ 0 h 346936"/>
                <a:gd name="connsiteX2" fmla="*/ 2905864 w 2905863"/>
                <a:gd name="connsiteY2" fmla="*/ 346937 h 346936"/>
                <a:gd name="connsiteX3" fmla="*/ 0 w 2905863"/>
                <a:gd name="connsiteY3" fmla="*/ 346937 h 34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346936">
                  <a:moveTo>
                    <a:pt x="0" y="0"/>
                  </a:moveTo>
                  <a:lnTo>
                    <a:pt x="2905864" y="0"/>
                  </a:lnTo>
                  <a:lnTo>
                    <a:pt x="2905864" y="346937"/>
                  </a:lnTo>
                  <a:lnTo>
                    <a:pt x="0" y="346937"/>
                  </a:lnTo>
                  <a:close/>
                </a:path>
              </a:pathLst>
            </a:custGeom>
            <a:solidFill>
              <a:srgbClr val="99D9F0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D916864-12FB-478F-99EE-83C970865F05}"/>
                </a:ext>
              </a:extLst>
            </p:cNvPr>
            <p:cNvSpPr/>
            <p:nvPr/>
          </p:nvSpPr>
          <p:spPr>
            <a:xfrm>
              <a:off x="6380216" y="4521775"/>
              <a:ext cx="2905863" cy="57854"/>
            </a:xfrm>
            <a:custGeom>
              <a:avLst/>
              <a:gdLst>
                <a:gd name="connsiteX0" fmla="*/ 0 w 2905863"/>
                <a:gd name="connsiteY0" fmla="*/ 0 h 57854"/>
                <a:gd name="connsiteX1" fmla="*/ 2905864 w 2905863"/>
                <a:gd name="connsiteY1" fmla="*/ 0 h 57854"/>
                <a:gd name="connsiteX2" fmla="*/ 2905864 w 2905863"/>
                <a:gd name="connsiteY2" fmla="*/ 57854 h 57854"/>
                <a:gd name="connsiteX3" fmla="*/ 0 w 2905863"/>
                <a:gd name="connsiteY3" fmla="*/ 57854 h 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57854">
                  <a:moveTo>
                    <a:pt x="0" y="0"/>
                  </a:moveTo>
                  <a:lnTo>
                    <a:pt x="2905864" y="0"/>
                  </a:lnTo>
                  <a:lnTo>
                    <a:pt x="2905864" y="57854"/>
                  </a:lnTo>
                  <a:lnTo>
                    <a:pt x="0" y="57854"/>
                  </a:lnTo>
                  <a:close/>
                </a:path>
              </a:pathLst>
            </a:custGeom>
            <a:solidFill>
              <a:srgbClr val="3F9C35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0FF8E64-431E-4917-BD40-4BD55CF6B8DF}"/>
                </a:ext>
              </a:extLst>
            </p:cNvPr>
            <p:cNvSpPr/>
            <p:nvPr/>
          </p:nvSpPr>
          <p:spPr>
            <a:xfrm>
              <a:off x="6380216" y="4637294"/>
              <a:ext cx="2905863" cy="115566"/>
            </a:xfrm>
            <a:custGeom>
              <a:avLst/>
              <a:gdLst>
                <a:gd name="connsiteX0" fmla="*/ 0 w 2905863"/>
                <a:gd name="connsiteY0" fmla="*/ 0 h 115566"/>
                <a:gd name="connsiteX1" fmla="*/ 2905864 w 2905863"/>
                <a:gd name="connsiteY1" fmla="*/ 0 h 115566"/>
                <a:gd name="connsiteX2" fmla="*/ 2905864 w 2905863"/>
                <a:gd name="connsiteY2" fmla="*/ 115566 h 115566"/>
                <a:gd name="connsiteX3" fmla="*/ 0 w 2905863"/>
                <a:gd name="connsiteY3" fmla="*/ 115566 h 115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115566">
                  <a:moveTo>
                    <a:pt x="0" y="0"/>
                  </a:moveTo>
                  <a:lnTo>
                    <a:pt x="2905864" y="0"/>
                  </a:lnTo>
                  <a:lnTo>
                    <a:pt x="2905864" y="115566"/>
                  </a:lnTo>
                  <a:lnTo>
                    <a:pt x="0" y="115566"/>
                  </a:lnTo>
                  <a:close/>
                </a:path>
              </a:pathLst>
            </a:custGeom>
            <a:solidFill>
              <a:srgbClr val="00359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E450DA2-D1AF-4EFD-A7B9-9D1161ADD54F}"/>
                </a:ext>
              </a:extLst>
            </p:cNvPr>
            <p:cNvSpPr/>
            <p:nvPr/>
          </p:nvSpPr>
          <p:spPr>
            <a:xfrm>
              <a:off x="7833598" y="4927183"/>
              <a:ext cx="392545" cy="373134"/>
            </a:xfrm>
            <a:custGeom>
              <a:avLst/>
              <a:gdLst>
                <a:gd name="connsiteX0" fmla="*/ 303984 w 392545"/>
                <a:gd name="connsiteY0" fmla="*/ 19174 h 373134"/>
                <a:gd name="connsiteX1" fmla="*/ 201992 w 392545"/>
                <a:gd name="connsiteY1" fmla="*/ 0 h 373134"/>
                <a:gd name="connsiteX2" fmla="*/ 62173 w 392545"/>
                <a:gd name="connsiteY2" fmla="*/ 0 h 373134"/>
                <a:gd name="connsiteX3" fmla="*/ 27859 w 392545"/>
                <a:gd name="connsiteY3" fmla="*/ 0 h 373134"/>
                <a:gd name="connsiteX4" fmla="*/ 0 w 392545"/>
                <a:gd name="connsiteY4" fmla="*/ 0 h 373134"/>
                <a:gd name="connsiteX5" fmla="*/ 0 w 392545"/>
                <a:gd name="connsiteY5" fmla="*/ 373135 h 373134"/>
                <a:gd name="connsiteX6" fmla="*/ 27859 w 392545"/>
                <a:gd name="connsiteY6" fmla="*/ 373135 h 373134"/>
                <a:gd name="connsiteX7" fmla="*/ 62173 w 392545"/>
                <a:gd name="connsiteY7" fmla="*/ 373135 h 373134"/>
                <a:gd name="connsiteX8" fmla="*/ 201992 w 392545"/>
                <a:gd name="connsiteY8" fmla="*/ 373135 h 373134"/>
                <a:gd name="connsiteX9" fmla="*/ 303984 w 392545"/>
                <a:gd name="connsiteY9" fmla="*/ 353961 h 373134"/>
                <a:gd name="connsiteX10" fmla="*/ 369670 w 392545"/>
                <a:gd name="connsiteY10" fmla="*/ 296249 h 373134"/>
                <a:gd name="connsiteX11" fmla="*/ 392546 w 392545"/>
                <a:gd name="connsiteY11" fmla="*/ 199477 h 373134"/>
                <a:gd name="connsiteX12" fmla="*/ 392546 w 392545"/>
                <a:gd name="connsiteY12" fmla="*/ 173611 h 373134"/>
                <a:gd name="connsiteX13" fmla="*/ 369670 w 392545"/>
                <a:gd name="connsiteY13" fmla="*/ 76839 h 373134"/>
                <a:gd name="connsiteX14" fmla="*/ 303984 w 392545"/>
                <a:gd name="connsiteY14" fmla="*/ 19174 h 373134"/>
                <a:gd name="connsiteX15" fmla="*/ 331369 w 392545"/>
                <a:gd name="connsiteY15" fmla="*/ 197531 h 373134"/>
                <a:gd name="connsiteX16" fmla="*/ 299048 w 392545"/>
                <a:gd name="connsiteY16" fmla="*/ 287563 h 373134"/>
                <a:gd name="connsiteX17" fmla="*/ 202514 w 392545"/>
                <a:gd name="connsiteY17" fmla="*/ 316894 h 373134"/>
                <a:gd name="connsiteX18" fmla="*/ 62221 w 392545"/>
                <a:gd name="connsiteY18" fmla="*/ 316894 h 373134"/>
                <a:gd name="connsiteX19" fmla="*/ 62221 w 392545"/>
                <a:gd name="connsiteY19" fmla="*/ 56193 h 373134"/>
                <a:gd name="connsiteX20" fmla="*/ 202514 w 392545"/>
                <a:gd name="connsiteY20" fmla="*/ 56193 h 373134"/>
                <a:gd name="connsiteX21" fmla="*/ 299048 w 392545"/>
                <a:gd name="connsiteY21" fmla="*/ 84812 h 373134"/>
                <a:gd name="connsiteX22" fmla="*/ 331369 w 392545"/>
                <a:gd name="connsiteY22" fmla="*/ 175604 h 373134"/>
                <a:gd name="connsiteX23" fmla="*/ 331369 w 392545"/>
                <a:gd name="connsiteY23" fmla="*/ 197531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2545" h="373134">
                  <a:moveTo>
                    <a:pt x="303984" y="19174"/>
                  </a:moveTo>
                  <a:cubicBezTo>
                    <a:pt x="275461" y="6407"/>
                    <a:pt x="241479" y="0"/>
                    <a:pt x="201992" y="0"/>
                  </a:cubicBezTo>
                  <a:lnTo>
                    <a:pt x="62173" y="0"/>
                  </a:lnTo>
                  <a:lnTo>
                    <a:pt x="27859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27859" y="373135"/>
                  </a:lnTo>
                  <a:lnTo>
                    <a:pt x="62173" y="373135"/>
                  </a:lnTo>
                  <a:lnTo>
                    <a:pt x="201992" y="373135"/>
                  </a:lnTo>
                  <a:cubicBezTo>
                    <a:pt x="241479" y="373135"/>
                    <a:pt x="275461" y="366728"/>
                    <a:pt x="303984" y="353961"/>
                  </a:cubicBezTo>
                  <a:cubicBezTo>
                    <a:pt x="332508" y="341194"/>
                    <a:pt x="354387" y="321972"/>
                    <a:pt x="369670" y="296249"/>
                  </a:cubicBezTo>
                  <a:cubicBezTo>
                    <a:pt x="384904" y="270525"/>
                    <a:pt x="392546" y="238299"/>
                    <a:pt x="392546" y="199477"/>
                  </a:cubicBezTo>
                  <a:lnTo>
                    <a:pt x="392546" y="173611"/>
                  </a:lnTo>
                  <a:cubicBezTo>
                    <a:pt x="392546" y="134788"/>
                    <a:pt x="384904" y="102562"/>
                    <a:pt x="369670" y="76839"/>
                  </a:cubicBezTo>
                  <a:cubicBezTo>
                    <a:pt x="354387" y="51162"/>
                    <a:pt x="332508" y="31941"/>
                    <a:pt x="303984" y="19174"/>
                  </a:cubicBezTo>
                  <a:close/>
                  <a:moveTo>
                    <a:pt x="331369" y="197531"/>
                  </a:moveTo>
                  <a:cubicBezTo>
                    <a:pt x="331369" y="238015"/>
                    <a:pt x="320596" y="268010"/>
                    <a:pt x="299048" y="287563"/>
                  </a:cubicBezTo>
                  <a:cubicBezTo>
                    <a:pt x="277502" y="307117"/>
                    <a:pt x="245323" y="316894"/>
                    <a:pt x="202514" y="316894"/>
                  </a:cubicBezTo>
                  <a:lnTo>
                    <a:pt x="62221" y="316894"/>
                  </a:lnTo>
                  <a:lnTo>
                    <a:pt x="62221" y="56193"/>
                  </a:lnTo>
                  <a:lnTo>
                    <a:pt x="202514" y="56193"/>
                  </a:lnTo>
                  <a:cubicBezTo>
                    <a:pt x="245323" y="56193"/>
                    <a:pt x="277454" y="65733"/>
                    <a:pt x="299048" y="84812"/>
                  </a:cubicBezTo>
                  <a:cubicBezTo>
                    <a:pt x="320596" y="103891"/>
                    <a:pt x="331369" y="134171"/>
                    <a:pt x="331369" y="175604"/>
                  </a:cubicBezTo>
                  <a:lnTo>
                    <a:pt x="331369" y="197531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56553B8-1481-4E85-83A7-689A7C6CC67F}"/>
                </a:ext>
              </a:extLst>
            </p:cNvPr>
            <p:cNvSpPr/>
            <p:nvPr/>
          </p:nvSpPr>
          <p:spPr>
            <a:xfrm>
              <a:off x="8344036" y="4927183"/>
              <a:ext cx="410485" cy="373134"/>
            </a:xfrm>
            <a:custGeom>
              <a:avLst/>
              <a:gdLst>
                <a:gd name="connsiteX0" fmla="*/ 349262 w 410485"/>
                <a:gd name="connsiteY0" fmla="*/ 291598 h 373134"/>
                <a:gd name="connsiteX1" fmla="*/ 60702 w 410485"/>
                <a:gd name="connsiteY1" fmla="*/ 0 h 373134"/>
                <a:gd name="connsiteX2" fmla="*/ 26388 w 410485"/>
                <a:gd name="connsiteY2" fmla="*/ 0 h 373134"/>
                <a:gd name="connsiteX3" fmla="*/ 0 w 410485"/>
                <a:gd name="connsiteY3" fmla="*/ 0 h 373134"/>
                <a:gd name="connsiteX4" fmla="*/ 0 w 410485"/>
                <a:gd name="connsiteY4" fmla="*/ 373135 h 373134"/>
                <a:gd name="connsiteX5" fmla="*/ 60702 w 410485"/>
                <a:gd name="connsiteY5" fmla="*/ 373135 h 373134"/>
                <a:gd name="connsiteX6" fmla="*/ 60702 w 410485"/>
                <a:gd name="connsiteY6" fmla="*/ 81917 h 373134"/>
                <a:gd name="connsiteX7" fmla="*/ 349262 w 410485"/>
                <a:gd name="connsiteY7" fmla="*/ 373135 h 373134"/>
                <a:gd name="connsiteX8" fmla="*/ 410486 w 410485"/>
                <a:gd name="connsiteY8" fmla="*/ 373135 h 373134"/>
                <a:gd name="connsiteX9" fmla="*/ 410486 w 410485"/>
                <a:gd name="connsiteY9" fmla="*/ 0 h 373134"/>
                <a:gd name="connsiteX10" fmla="*/ 349262 w 410485"/>
                <a:gd name="connsiteY10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485" h="373134">
                  <a:moveTo>
                    <a:pt x="349262" y="291598"/>
                  </a:moveTo>
                  <a:lnTo>
                    <a:pt x="60702" y="0"/>
                  </a:lnTo>
                  <a:lnTo>
                    <a:pt x="26388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60702" y="373135"/>
                  </a:lnTo>
                  <a:lnTo>
                    <a:pt x="60702" y="81917"/>
                  </a:lnTo>
                  <a:lnTo>
                    <a:pt x="349262" y="373135"/>
                  </a:lnTo>
                  <a:lnTo>
                    <a:pt x="410486" y="373135"/>
                  </a:lnTo>
                  <a:lnTo>
                    <a:pt x="410486" y="0"/>
                  </a:lnTo>
                  <a:lnTo>
                    <a:pt x="349262" y="0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2AB55C8-079A-4ACE-9DFB-9EBA23B48B0B}"/>
                </a:ext>
              </a:extLst>
            </p:cNvPr>
            <p:cNvSpPr/>
            <p:nvPr/>
          </p:nvSpPr>
          <p:spPr>
            <a:xfrm>
              <a:off x="8863965" y="4927183"/>
              <a:ext cx="421876" cy="373134"/>
            </a:xfrm>
            <a:custGeom>
              <a:avLst/>
              <a:gdLst>
                <a:gd name="connsiteX0" fmla="*/ 355716 w 421876"/>
                <a:gd name="connsiteY0" fmla="*/ 0 h 373134"/>
                <a:gd name="connsiteX1" fmla="*/ 212955 w 421876"/>
                <a:gd name="connsiteY1" fmla="*/ 291598 h 373134"/>
                <a:gd name="connsiteX2" fmla="*/ 70146 w 421876"/>
                <a:gd name="connsiteY2" fmla="*/ 0 h 373134"/>
                <a:gd name="connsiteX3" fmla="*/ 0 w 421876"/>
                <a:gd name="connsiteY3" fmla="*/ 0 h 373134"/>
                <a:gd name="connsiteX4" fmla="*/ 187042 w 421876"/>
                <a:gd name="connsiteY4" fmla="*/ 373135 h 373134"/>
                <a:gd name="connsiteX5" fmla="*/ 235309 w 421876"/>
                <a:gd name="connsiteY5" fmla="*/ 373135 h 373134"/>
                <a:gd name="connsiteX6" fmla="*/ 421876 w 421876"/>
                <a:gd name="connsiteY6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876" h="373134">
                  <a:moveTo>
                    <a:pt x="355716" y="0"/>
                  </a:moveTo>
                  <a:lnTo>
                    <a:pt x="212955" y="291598"/>
                  </a:lnTo>
                  <a:lnTo>
                    <a:pt x="70146" y="0"/>
                  </a:lnTo>
                  <a:lnTo>
                    <a:pt x="0" y="0"/>
                  </a:lnTo>
                  <a:lnTo>
                    <a:pt x="187042" y="373135"/>
                  </a:lnTo>
                  <a:lnTo>
                    <a:pt x="235309" y="373135"/>
                  </a:lnTo>
                  <a:lnTo>
                    <a:pt x="421876" y="0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749" y="1270188"/>
            <a:ext cx="11110914" cy="4317624"/>
          </a:xfrm>
        </p:spPr>
        <p:txBody>
          <a:bodyPr rIns="0"/>
          <a:lstStyle>
            <a:lvl5pPr>
              <a:defRPr/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20" name="SD_FLD_Draft" hidden="1">
            <a:extLst>
              <a:ext uri="{FF2B5EF4-FFF2-40B4-BE49-F238E27FC236}">
                <a16:creationId xmlns:a16="http://schemas.microsoft.com/office/drawing/2014/main" id="{21F368A2-F525-4249-A72B-F904922C972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21" name="SD_FLD_Confidentiality">
            <a:extLst>
              <a:ext uri="{FF2B5EF4-FFF2-40B4-BE49-F238E27FC236}">
                <a16:creationId xmlns:a16="http://schemas.microsoft.com/office/drawing/2014/main" id="{859FDC4D-A513-43EC-AC0B-76C98697BB47}"/>
              </a:ext>
            </a:extLst>
          </p:cNvPr>
          <p:cNvSpPr/>
          <p:nvPr userDrawn="1"/>
        </p:nvSpPr>
        <p:spPr>
          <a:xfrm>
            <a:off x="7131600" y="6440400"/>
            <a:ext cx="2440800" cy="1512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GB" sz="700" b="0" kern="1200" cap="all" baseline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_SD_FLD_Copyright">
            <a:extLst>
              <a:ext uri="{FF2B5EF4-FFF2-40B4-BE49-F238E27FC236}">
                <a16:creationId xmlns:a16="http://schemas.microsoft.com/office/drawing/2014/main" id="{A61C7373-7D38-410C-A480-DBF21C8972FF}"/>
              </a:ext>
            </a:extLst>
          </p:cNvPr>
          <p:cNvSpPr txBox="1"/>
          <p:nvPr userDrawn="1"/>
        </p:nvSpPr>
        <p:spPr>
          <a:xfrm>
            <a:off x="818923" y="6449138"/>
            <a:ext cx="27892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noProof="0" dirty="0">
                <a:solidFill>
                  <a:schemeClr val="accent1"/>
                </a:solidFill>
              </a:rPr>
              <a:t>DNV ©</a:t>
            </a:r>
          </a:p>
        </p:txBody>
      </p:sp>
      <p:sp>
        <p:nvSpPr>
          <p:cNvPr id="26" name="Date Placeholder 9">
            <a:extLst>
              <a:ext uri="{FF2B5EF4-FFF2-40B4-BE49-F238E27FC236}">
                <a16:creationId xmlns:a16="http://schemas.microsoft.com/office/drawing/2014/main" id="{6A0FCA07-6DEB-4D98-87C3-0299B2B2D9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68587" y="6445820"/>
            <a:ext cx="107134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GB" sz="700" smtClean="0">
                <a:solidFill>
                  <a:schemeClr val="accent1"/>
                </a:solidFill>
              </a:defRPr>
            </a:lvl1pPr>
          </a:lstStyle>
          <a:p>
            <a:r>
              <a:rPr lang="en-US"/>
              <a:t>Rev. 1.0</a:t>
            </a:r>
            <a:endParaRPr lang="de-DE" dirty="0"/>
          </a:p>
        </p:txBody>
      </p:sp>
      <p:sp>
        <p:nvSpPr>
          <p:cNvPr id="27" name="Footer Placeholder 11">
            <a:extLst>
              <a:ext uri="{FF2B5EF4-FFF2-40B4-BE49-F238E27FC236}">
                <a16:creationId xmlns:a16="http://schemas.microsoft.com/office/drawing/2014/main" id="{02831719-A84C-4C0D-923E-127F8896E8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0596" y="6439418"/>
            <a:ext cx="834040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700" dirty="0">
                <a:solidFill>
                  <a:schemeClr val="accent1"/>
                </a:solidFill>
              </a:defRPr>
            </a:lvl1pPr>
          </a:lstStyle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28" name="Slide Number Placeholder 12">
            <a:extLst>
              <a:ext uri="{FF2B5EF4-FFF2-40B4-BE49-F238E27FC236}">
                <a16:creationId xmlns:a16="http://schemas.microsoft.com/office/drawing/2014/main" id="{01D4E957-F319-4AE3-B78F-7EFDF4FC76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392" y="644740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700" smtClean="0">
                <a:solidFill>
                  <a:schemeClr val="accent1"/>
                </a:solidFill>
              </a:defRPr>
            </a:lvl1pPr>
          </a:lstStyle>
          <a:p>
            <a:fld id="{300F8F77-4347-4BF0-A9D7-4E51985595AC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85147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39750" y="1270793"/>
            <a:ext cx="5465763" cy="4316414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2000"/>
            </a:lvl4pPr>
            <a:lvl5pPr>
              <a:defRPr sz="2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6000"/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84900" y="1270793"/>
            <a:ext cx="5465763" cy="4316414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2000"/>
            </a:lvl4pPr>
            <a:lvl5pPr>
              <a:defRPr sz="2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6000"/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10" name="Footer Placeholder 11">
            <a:extLst>
              <a:ext uri="{FF2B5EF4-FFF2-40B4-BE49-F238E27FC236}">
                <a16:creationId xmlns:a16="http://schemas.microsoft.com/office/drawing/2014/main" id="{BCEF31CB-482B-43A0-B18F-ECAAD6BC0E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0596" y="6439418"/>
            <a:ext cx="834040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700" dirty="0">
                <a:solidFill>
                  <a:schemeClr val="accent1"/>
                </a:solidFill>
              </a:defRPr>
            </a:lvl1pPr>
          </a:lstStyle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B4382537-CB3A-4F3C-BCB9-CDE7F3B35B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392" y="644740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700" smtClean="0">
                <a:solidFill>
                  <a:schemeClr val="accent1"/>
                </a:solidFill>
              </a:defRPr>
            </a:lvl1pPr>
          </a:lstStyle>
          <a:p>
            <a:fld id="{300F8F77-4347-4BF0-A9D7-4E51985595A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Date Placeholder 9">
            <a:extLst>
              <a:ext uri="{FF2B5EF4-FFF2-40B4-BE49-F238E27FC236}">
                <a16:creationId xmlns:a16="http://schemas.microsoft.com/office/drawing/2014/main" id="{BC786828-479A-4120-BD97-0F186CB5F1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68587" y="6445820"/>
            <a:ext cx="107134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GB" sz="700" smtClean="0">
                <a:solidFill>
                  <a:schemeClr val="accent1"/>
                </a:solidFill>
              </a:defRPr>
            </a:lvl1pPr>
          </a:lstStyle>
          <a:p>
            <a:r>
              <a:rPr lang="en-US"/>
              <a:t>Rev. 1.0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61628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FBCEB69-4B90-48AC-8E50-F4C1FAD42957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rgbClr val="EE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grpSp>
        <p:nvGrpSpPr>
          <p:cNvPr id="18" name="Logo">
            <a:extLst>
              <a:ext uri="{FF2B5EF4-FFF2-40B4-BE49-F238E27FC236}">
                <a16:creationId xmlns:a16="http://schemas.microsoft.com/office/drawing/2014/main" id="{8145D2D3-7F22-4934-B251-1F99086694BC}"/>
              </a:ext>
            </a:extLst>
          </p:cNvPr>
          <p:cNvGrpSpPr/>
          <p:nvPr userDrawn="1"/>
        </p:nvGrpSpPr>
        <p:grpSpPr>
          <a:xfrm>
            <a:off x="10893210" y="6350918"/>
            <a:ext cx="755843" cy="322808"/>
            <a:chOff x="6380216" y="4059273"/>
            <a:chExt cx="2905863" cy="1241045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6BB8EE7-0DAE-475A-99CB-4C95B9C4174D}"/>
                </a:ext>
              </a:extLst>
            </p:cNvPr>
            <p:cNvSpPr/>
            <p:nvPr/>
          </p:nvSpPr>
          <p:spPr>
            <a:xfrm>
              <a:off x="6380216" y="4059273"/>
              <a:ext cx="2905863" cy="346936"/>
            </a:xfrm>
            <a:custGeom>
              <a:avLst/>
              <a:gdLst>
                <a:gd name="connsiteX0" fmla="*/ 0 w 2905863"/>
                <a:gd name="connsiteY0" fmla="*/ 0 h 346936"/>
                <a:gd name="connsiteX1" fmla="*/ 2905864 w 2905863"/>
                <a:gd name="connsiteY1" fmla="*/ 0 h 346936"/>
                <a:gd name="connsiteX2" fmla="*/ 2905864 w 2905863"/>
                <a:gd name="connsiteY2" fmla="*/ 346937 h 346936"/>
                <a:gd name="connsiteX3" fmla="*/ 0 w 2905863"/>
                <a:gd name="connsiteY3" fmla="*/ 346937 h 34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346936">
                  <a:moveTo>
                    <a:pt x="0" y="0"/>
                  </a:moveTo>
                  <a:lnTo>
                    <a:pt x="2905864" y="0"/>
                  </a:lnTo>
                  <a:lnTo>
                    <a:pt x="2905864" y="346937"/>
                  </a:lnTo>
                  <a:lnTo>
                    <a:pt x="0" y="346937"/>
                  </a:lnTo>
                  <a:close/>
                </a:path>
              </a:pathLst>
            </a:custGeom>
            <a:solidFill>
              <a:srgbClr val="99D9F0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E34A211-0C55-472F-A8C7-DF7C115B4E36}"/>
                </a:ext>
              </a:extLst>
            </p:cNvPr>
            <p:cNvSpPr/>
            <p:nvPr/>
          </p:nvSpPr>
          <p:spPr>
            <a:xfrm>
              <a:off x="6380216" y="4521775"/>
              <a:ext cx="2905863" cy="57854"/>
            </a:xfrm>
            <a:custGeom>
              <a:avLst/>
              <a:gdLst>
                <a:gd name="connsiteX0" fmla="*/ 0 w 2905863"/>
                <a:gd name="connsiteY0" fmla="*/ 0 h 57854"/>
                <a:gd name="connsiteX1" fmla="*/ 2905864 w 2905863"/>
                <a:gd name="connsiteY1" fmla="*/ 0 h 57854"/>
                <a:gd name="connsiteX2" fmla="*/ 2905864 w 2905863"/>
                <a:gd name="connsiteY2" fmla="*/ 57854 h 57854"/>
                <a:gd name="connsiteX3" fmla="*/ 0 w 2905863"/>
                <a:gd name="connsiteY3" fmla="*/ 57854 h 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57854">
                  <a:moveTo>
                    <a:pt x="0" y="0"/>
                  </a:moveTo>
                  <a:lnTo>
                    <a:pt x="2905864" y="0"/>
                  </a:lnTo>
                  <a:lnTo>
                    <a:pt x="2905864" y="57854"/>
                  </a:lnTo>
                  <a:lnTo>
                    <a:pt x="0" y="57854"/>
                  </a:lnTo>
                  <a:close/>
                </a:path>
              </a:pathLst>
            </a:custGeom>
            <a:solidFill>
              <a:srgbClr val="3F9C35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DB3FBA2-AFC9-409D-945D-4CFDE6BBEE6A}"/>
                </a:ext>
              </a:extLst>
            </p:cNvPr>
            <p:cNvSpPr/>
            <p:nvPr/>
          </p:nvSpPr>
          <p:spPr>
            <a:xfrm>
              <a:off x="6380216" y="4637294"/>
              <a:ext cx="2905863" cy="115566"/>
            </a:xfrm>
            <a:custGeom>
              <a:avLst/>
              <a:gdLst>
                <a:gd name="connsiteX0" fmla="*/ 0 w 2905863"/>
                <a:gd name="connsiteY0" fmla="*/ 0 h 115566"/>
                <a:gd name="connsiteX1" fmla="*/ 2905864 w 2905863"/>
                <a:gd name="connsiteY1" fmla="*/ 0 h 115566"/>
                <a:gd name="connsiteX2" fmla="*/ 2905864 w 2905863"/>
                <a:gd name="connsiteY2" fmla="*/ 115566 h 115566"/>
                <a:gd name="connsiteX3" fmla="*/ 0 w 2905863"/>
                <a:gd name="connsiteY3" fmla="*/ 115566 h 115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115566">
                  <a:moveTo>
                    <a:pt x="0" y="0"/>
                  </a:moveTo>
                  <a:lnTo>
                    <a:pt x="2905864" y="0"/>
                  </a:lnTo>
                  <a:lnTo>
                    <a:pt x="2905864" y="115566"/>
                  </a:lnTo>
                  <a:lnTo>
                    <a:pt x="0" y="115566"/>
                  </a:lnTo>
                  <a:close/>
                </a:path>
              </a:pathLst>
            </a:custGeom>
            <a:solidFill>
              <a:srgbClr val="00359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DF6B560-906C-4643-86C4-C545FCBD8975}"/>
                </a:ext>
              </a:extLst>
            </p:cNvPr>
            <p:cNvSpPr/>
            <p:nvPr/>
          </p:nvSpPr>
          <p:spPr>
            <a:xfrm>
              <a:off x="7833598" y="4927183"/>
              <a:ext cx="392545" cy="373134"/>
            </a:xfrm>
            <a:custGeom>
              <a:avLst/>
              <a:gdLst>
                <a:gd name="connsiteX0" fmla="*/ 303984 w 392545"/>
                <a:gd name="connsiteY0" fmla="*/ 19174 h 373134"/>
                <a:gd name="connsiteX1" fmla="*/ 201992 w 392545"/>
                <a:gd name="connsiteY1" fmla="*/ 0 h 373134"/>
                <a:gd name="connsiteX2" fmla="*/ 62173 w 392545"/>
                <a:gd name="connsiteY2" fmla="*/ 0 h 373134"/>
                <a:gd name="connsiteX3" fmla="*/ 27859 w 392545"/>
                <a:gd name="connsiteY3" fmla="*/ 0 h 373134"/>
                <a:gd name="connsiteX4" fmla="*/ 0 w 392545"/>
                <a:gd name="connsiteY4" fmla="*/ 0 h 373134"/>
                <a:gd name="connsiteX5" fmla="*/ 0 w 392545"/>
                <a:gd name="connsiteY5" fmla="*/ 373135 h 373134"/>
                <a:gd name="connsiteX6" fmla="*/ 27859 w 392545"/>
                <a:gd name="connsiteY6" fmla="*/ 373135 h 373134"/>
                <a:gd name="connsiteX7" fmla="*/ 62173 w 392545"/>
                <a:gd name="connsiteY7" fmla="*/ 373135 h 373134"/>
                <a:gd name="connsiteX8" fmla="*/ 201992 w 392545"/>
                <a:gd name="connsiteY8" fmla="*/ 373135 h 373134"/>
                <a:gd name="connsiteX9" fmla="*/ 303984 w 392545"/>
                <a:gd name="connsiteY9" fmla="*/ 353961 h 373134"/>
                <a:gd name="connsiteX10" fmla="*/ 369670 w 392545"/>
                <a:gd name="connsiteY10" fmla="*/ 296249 h 373134"/>
                <a:gd name="connsiteX11" fmla="*/ 392546 w 392545"/>
                <a:gd name="connsiteY11" fmla="*/ 199477 h 373134"/>
                <a:gd name="connsiteX12" fmla="*/ 392546 w 392545"/>
                <a:gd name="connsiteY12" fmla="*/ 173611 h 373134"/>
                <a:gd name="connsiteX13" fmla="*/ 369670 w 392545"/>
                <a:gd name="connsiteY13" fmla="*/ 76839 h 373134"/>
                <a:gd name="connsiteX14" fmla="*/ 303984 w 392545"/>
                <a:gd name="connsiteY14" fmla="*/ 19174 h 373134"/>
                <a:gd name="connsiteX15" fmla="*/ 331369 w 392545"/>
                <a:gd name="connsiteY15" fmla="*/ 197531 h 373134"/>
                <a:gd name="connsiteX16" fmla="*/ 299048 w 392545"/>
                <a:gd name="connsiteY16" fmla="*/ 287563 h 373134"/>
                <a:gd name="connsiteX17" fmla="*/ 202514 w 392545"/>
                <a:gd name="connsiteY17" fmla="*/ 316894 h 373134"/>
                <a:gd name="connsiteX18" fmla="*/ 62221 w 392545"/>
                <a:gd name="connsiteY18" fmla="*/ 316894 h 373134"/>
                <a:gd name="connsiteX19" fmla="*/ 62221 w 392545"/>
                <a:gd name="connsiteY19" fmla="*/ 56193 h 373134"/>
                <a:gd name="connsiteX20" fmla="*/ 202514 w 392545"/>
                <a:gd name="connsiteY20" fmla="*/ 56193 h 373134"/>
                <a:gd name="connsiteX21" fmla="*/ 299048 w 392545"/>
                <a:gd name="connsiteY21" fmla="*/ 84812 h 373134"/>
                <a:gd name="connsiteX22" fmla="*/ 331369 w 392545"/>
                <a:gd name="connsiteY22" fmla="*/ 175604 h 373134"/>
                <a:gd name="connsiteX23" fmla="*/ 331369 w 392545"/>
                <a:gd name="connsiteY23" fmla="*/ 197531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2545" h="373134">
                  <a:moveTo>
                    <a:pt x="303984" y="19174"/>
                  </a:moveTo>
                  <a:cubicBezTo>
                    <a:pt x="275461" y="6407"/>
                    <a:pt x="241479" y="0"/>
                    <a:pt x="201992" y="0"/>
                  </a:cubicBezTo>
                  <a:lnTo>
                    <a:pt x="62173" y="0"/>
                  </a:lnTo>
                  <a:lnTo>
                    <a:pt x="27859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27859" y="373135"/>
                  </a:lnTo>
                  <a:lnTo>
                    <a:pt x="62173" y="373135"/>
                  </a:lnTo>
                  <a:lnTo>
                    <a:pt x="201992" y="373135"/>
                  </a:lnTo>
                  <a:cubicBezTo>
                    <a:pt x="241479" y="373135"/>
                    <a:pt x="275461" y="366728"/>
                    <a:pt x="303984" y="353961"/>
                  </a:cubicBezTo>
                  <a:cubicBezTo>
                    <a:pt x="332508" y="341194"/>
                    <a:pt x="354387" y="321972"/>
                    <a:pt x="369670" y="296249"/>
                  </a:cubicBezTo>
                  <a:cubicBezTo>
                    <a:pt x="384904" y="270525"/>
                    <a:pt x="392546" y="238299"/>
                    <a:pt x="392546" y="199477"/>
                  </a:cubicBezTo>
                  <a:lnTo>
                    <a:pt x="392546" y="173611"/>
                  </a:lnTo>
                  <a:cubicBezTo>
                    <a:pt x="392546" y="134788"/>
                    <a:pt x="384904" y="102562"/>
                    <a:pt x="369670" y="76839"/>
                  </a:cubicBezTo>
                  <a:cubicBezTo>
                    <a:pt x="354387" y="51162"/>
                    <a:pt x="332508" y="31941"/>
                    <a:pt x="303984" y="19174"/>
                  </a:cubicBezTo>
                  <a:close/>
                  <a:moveTo>
                    <a:pt x="331369" y="197531"/>
                  </a:moveTo>
                  <a:cubicBezTo>
                    <a:pt x="331369" y="238015"/>
                    <a:pt x="320596" y="268010"/>
                    <a:pt x="299048" y="287563"/>
                  </a:cubicBezTo>
                  <a:cubicBezTo>
                    <a:pt x="277502" y="307117"/>
                    <a:pt x="245323" y="316894"/>
                    <a:pt x="202514" y="316894"/>
                  </a:cubicBezTo>
                  <a:lnTo>
                    <a:pt x="62221" y="316894"/>
                  </a:lnTo>
                  <a:lnTo>
                    <a:pt x="62221" y="56193"/>
                  </a:lnTo>
                  <a:lnTo>
                    <a:pt x="202514" y="56193"/>
                  </a:lnTo>
                  <a:cubicBezTo>
                    <a:pt x="245323" y="56193"/>
                    <a:pt x="277454" y="65733"/>
                    <a:pt x="299048" y="84812"/>
                  </a:cubicBezTo>
                  <a:cubicBezTo>
                    <a:pt x="320596" y="103891"/>
                    <a:pt x="331369" y="134171"/>
                    <a:pt x="331369" y="175604"/>
                  </a:cubicBezTo>
                  <a:lnTo>
                    <a:pt x="331369" y="197531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C24D933-C961-4320-84B8-2B098CBD0E95}"/>
                </a:ext>
              </a:extLst>
            </p:cNvPr>
            <p:cNvSpPr/>
            <p:nvPr/>
          </p:nvSpPr>
          <p:spPr>
            <a:xfrm>
              <a:off x="8344036" y="4927183"/>
              <a:ext cx="410485" cy="373134"/>
            </a:xfrm>
            <a:custGeom>
              <a:avLst/>
              <a:gdLst>
                <a:gd name="connsiteX0" fmla="*/ 349262 w 410485"/>
                <a:gd name="connsiteY0" fmla="*/ 291598 h 373134"/>
                <a:gd name="connsiteX1" fmla="*/ 60702 w 410485"/>
                <a:gd name="connsiteY1" fmla="*/ 0 h 373134"/>
                <a:gd name="connsiteX2" fmla="*/ 26388 w 410485"/>
                <a:gd name="connsiteY2" fmla="*/ 0 h 373134"/>
                <a:gd name="connsiteX3" fmla="*/ 0 w 410485"/>
                <a:gd name="connsiteY3" fmla="*/ 0 h 373134"/>
                <a:gd name="connsiteX4" fmla="*/ 0 w 410485"/>
                <a:gd name="connsiteY4" fmla="*/ 373135 h 373134"/>
                <a:gd name="connsiteX5" fmla="*/ 60702 w 410485"/>
                <a:gd name="connsiteY5" fmla="*/ 373135 h 373134"/>
                <a:gd name="connsiteX6" fmla="*/ 60702 w 410485"/>
                <a:gd name="connsiteY6" fmla="*/ 81917 h 373134"/>
                <a:gd name="connsiteX7" fmla="*/ 349262 w 410485"/>
                <a:gd name="connsiteY7" fmla="*/ 373135 h 373134"/>
                <a:gd name="connsiteX8" fmla="*/ 410486 w 410485"/>
                <a:gd name="connsiteY8" fmla="*/ 373135 h 373134"/>
                <a:gd name="connsiteX9" fmla="*/ 410486 w 410485"/>
                <a:gd name="connsiteY9" fmla="*/ 0 h 373134"/>
                <a:gd name="connsiteX10" fmla="*/ 349262 w 410485"/>
                <a:gd name="connsiteY10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485" h="373134">
                  <a:moveTo>
                    <a:pt x="349262" y="291598"/>
                  </a:moveTo>
                  <a:lnTo>
                    <a:pt x="60702" y="0"/>
                  </a:lnTo>
                  <a:lnTo>
                    <a:pt x="26388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60702" y="373135"/>
                  </a:lnTo>
                  <a:lnTo>
                    <a:pt x="60702" y="81917"/>
                  </a:lnTo>
                  <a:lnTo>
                    <a:pt x="349262" y="373135"/>
                  </a:lnTo>
                  <a:lnTo>
                    <a:pt x="410486" y="373135"/>
                  </a:lnTo>
                  <a:lnTo>
                    <a:pt x="410486" y="0"/>
                  </a:lnTo>
                  <a:lnTo>
                    <a:pt x="349262" y="0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93D8CD1-B7C6-4727-A773-7D9B1A7CD8D6}"/>
                </a:ext>
              </a:extLst>
            </p:cNvPr>
            <p:cNvSpPr/>
            <p:nvPr/>
          </p:nvSpPr>
          <p:spPr>
            <a:xfrm>
              <a:off x="8863965" y="4927183"/>
              <a:ext cx="421876" cy="373134"/>
            </a:xfrm>
            <a:custGeom>
              <a:avLst/>
              <a:gdLst>
                <a:gd name="connsiteX0" fmla="*/ 355716 w 421876"/>
                <a:gd name="connsiteY0" fmla="*/ 0 h 373134"/>
                <a:gd name="connsiteX1" fmla="*/ 212955 w 421876"/>
                <a:gd name="connsiteY1" fmla="*/ 291598 h 373134"/>
                <a:gd name="connsiteX2" fmla="*/ 70146 w 421876"/>
                <a:gd name="connsiteY2" fmla="*/ 0 h 373134"/>
                <a:gd name="connsiteX3" fmla="*/ 0 w 421876"/>
                <a:gd name="connsiteY3" fmla="*/ 0 h 373134"/>
                <a:gd name="connsiteX4" fmla="*/ 187042 w 421876"/>
                <a:gd name="connsiteY4" fmla="*/ 373135 h 373134"/>
                <a:gd name="connsiteX5" fmla="*/ 235309 w 421876"/>
                <a:gd name="connsiteY5" fmla="*/ 373135 h 373134"/>
                <a:gd name="connsiteX6" fmla="*/ 421876 w 421876"/>
                <a:gd name="connsiteY6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876" h="373134">
                  <a:moveTo>
                    <a:pt x="355716" y="0"/>
                  </a:moveTo>
                  <a:lnTo>
                    <a:pt x="212955" y="291598"/>
                  </a:lnTo>
                  <a:lnTo>
                    <a:pt x="70146" y="0"/>
                  </a:lnTo>
                  <a:lnTo>
                    <a:pt x="0" y="0"/>
                  </a:lnTo>
                  <a:lnTo>
                    <a:pt x="187042" y="373135"/>
                  </a:lnTo>
                  <a:lnTo>
                    <a:pt x="235309" y="373135"/>
                  </a:lnTo>
                  <a:lnTo>
                    <a:pt x="421876" y="0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39750" y="1270793"/>
            <a:ext cx="5465764" cy="4316414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2000"/>
            </a:lvl4pPr>
            <a:lvl5pPr>
              <a:defRPr sz="2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6000"/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84900" y="1270793"/>
            <a:ext cx="5465763" cy="4316414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2000"/>
            </a:lvl4pPr>
            <a:lvl5pPr>
              <a:defRPr sz="2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6000"/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25" name="SD_FLD_Draft" hidden="1">
            <a:extLst>
              <a:ext uri="{FF2B5EF4-FFF2-40B4-BE49-F238E27FC236}">
                <a16:creationId xmlns:a16="http://schemas.microsoft.com/office/drawing/2014/main" id="{BFB769A5-7146-4BE1-99CA-135A2E15C9C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27" name="SD_FLD_Confidentiality">
            <a:extLst>
              <a:ext uri="{FF2B5EF4-FFF2-40B4-BE49-F238E27FC236}">
                <a16:creationId xmlns:a16="http://schemas.microsoft.com/office/drawing/2014/main" id="{8E5EBD54-68A6-426B-B8F6-B31B70F04964}"/>
              </a:ext>
            </a:extLst>
          </p:cNvPr>
          <p:cNvSpPr/>
          <p:nvPr userDrawn="1"/>
        </p:nvSpPr>
        <p:spPr>
          <a:xfrm>
            <a:off x="7131600" y="6440400"/>
            <a:ext cx="2440800" cy="1512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GB" sz="700" b="0" kern="1200" cap="all" baseline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_SD_FLD_Copyright">
            <a:extLst>
              <a:ext uri="{FF2B5EF4-FFF2-40B4-BE49-F238E27FC236}">
                <a16:creationId xmlns:a16="http://schemas.microsoft.com/office/drawing/2014/main" id="{0179DF6C-2AC8-475E-8E82-7CF59DAE1708}"/>
              </a:ext>
            </a:extLst>
          </p:cNvPr>
          <p:cNvSpPr txBox="1"/>
          <p:nvPr userDrawn="1"/>
        </p:nvSpPr>
        <p:spPr>
          <a:xfrm>
            <a:off x="818923" y="6449138"/>
            <a:ext cx="27892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noProof="0" dirty="0">
                <a:solidFill>
                  <a:schemeClr val="accent1"/>
                </a:solidFill>
              </a:rPr>
              <a:t>DNV ©</a:t>
            </a:r>
          </a:p>
        </p:txBody>
      </p:sp>
      <p:sp>
        <p:nvSpPr>
          <p:cNvPr id="29" name="Footer Placeholder 11">
            <a:extLst>
              <a:ext uri="{FF2B5EF4-FFF2-40B4-BE49-F238E27FC236}">
                <a16:creationId xmlns:a16="http://schemas.microsoft.com/office/drawing/2014/main" id="{0C714C6D-60A6-4D21-9594-6866278A5A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0596" y="6439418"/>
            <a:ext cx="834040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700" dirty="0">
                <a:solidFill>
                  <a:schemeClr val="accent1"/>
                </a:solidFill>
              </a:defRPr>
            </a:lvl1pPr>
          </a:lstStyle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30" name="Slide Number Placeholder 12">
            <a:extLst>
              <a:ext uri="{FF2B5EF4-FFF2-40B4-BE49-F238E27FC236}">
                <a16:creationId xmlns:a16="http://schemas.microsoft.com/office/drawing/2014/main" id="{22536B55-3D7D-41D8-9512-BBCB3FC52B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392" y="644740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700" smtClean="0">
                <a:solidFill>
                  <a:schemeClr val="accent1"/>
                </a:solidFill>
              </a:defRPr>
            </a:lvl1pPr>
          </a:lstStyle>
          <a:p>
            <a:fld id="{300F8F77-4347-4BF0-A9D7-4E51985595A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1" name="Date Placeholder 9">
            <a:extLst>
              <a:ext uri="{FF2B5EF4-FFF2-40B4-BE49-F238E27FC236}">
                <a16:creationId xmlns:a16="http://schemas.microsoft.com/office/drawing/2014/main" id="{B9EE895C-CA11-4B7B-8059-3033CF8973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68587" y="6445820"/>
            <a:ext cx="107134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GB" sz="700" smtClean="0">
                <a:solidFill>
                  <a:schemeClr val="accent1"/>
                </a:solidFill>
              </a:defRPr>
            </a:lvl1pPr>
          </a:lstStyle>
          <a:p>
            <a:r>
              <a:rPr lang="en-US"/>
              <a:t>Rev. 1.0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223116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39750" y="1270793"/>
            <a:ext cx="6407150" cy="4316414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2000"/>
            </a:lvl4pPr>
            <a:lvl5pPr>
              <a:defRPr sz="2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6000"/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067675" y="1270793"/>
            <a:ext cx="3582988" cy="4316414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2000"/>
            </a:lvl4pPr>
            <a:lvl5pPr>
              <a:defRPr sz="2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6000"/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10" name="Footer Placeholder 11">
            <a:extLst>
              <a:ext uri="{FF2B5EF4-FFF2-40B4-BE49-F238E27FC236}">
                <a16:creationId xmlns:a16="http://schemas.microsoft.com/office/drawing/2014/main" id="{15D495DA-F9BB-4385-BDFE-1674858C1E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0596" y="6439418"/>
            <a:ext cx="834040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700" dirty="0">
                <a:solidFill>
                  <a:schemeClr val="accent1"/>
                </a:solidFill>
              </a:defRPr>
            </a:lvl1pPr>
          </a:lstStyle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47EA8240-1C62-4405-9C70-5C032B5551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392" y="644740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700" smtClean="0">
                <a:solidFill>
                  <a:schemeClr val="accent1"/>
                </a:solidFill>
              </a:defRPr>
            </a:lvl1pPr>
          </a:lstStyle>
          <a:p>
            <a:fld id="{300F8F77-4347-4BF0-A9D7-4E51985595A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Date Placeholder 9">
            <a:extLst>
              <a:ext uri="{FF2B5EF4-FFF2-40B4-BE49-F238E27FC236}">
                <a16:creationId xmlns:a16="http://schemas.microsoft.com/office/drawing/2014/main" id="{C2C3CBAF-032B-4B56-B7A2-B5A3BE52F72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68587" y="6445820"/>
            <a:ext cx="107134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GB" sz="700" smtClean="0">
                <a:solidFill>
                  <a:schemeClr val="accent1"/>
                </a:solidFill>
              </a:defRPr>
            </a:lvl1pPr>
          </a:lstStyle>
          <a:p>
            <a:r>
              <a:rPr lang="en-US"/>
              <a:t>Rev. 1.0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80756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A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FBCEB69-4B90-48AC-8E50-F4C1FAD42957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rgbClr val="EE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grpSp>
        <p:nvGrpSpPr>
          <p:cNvPr id="18" name="Logo">
            <a:extLst>
              <a:ext uri="{FF2B5EF4-FFF2-40B4-BE49-F238E27FC236}">
                <a16:creationId xmlns:a16="http://schemas.microsoft.com/office/drawing/2014/main" id="{8145D2D3-7F22-4934-B251-1F99086694BC}"/>
              </a:ext>
            </a:extLst>
          </p:cNvPr>
          <p:cNvGrpSpPr/>
          <p:nvPr userDrawn="1"/>
        </p:nvGrpSpPr>
        <p:grpSpPr>
          <a:xfrm>
            <a:off x="10893210" y="6350918"/>
            <a:ext cx="755843" cy="322808"/>
            <a:chOff x="6380216" y="4059273"/>
            <a:chExt cx="2905863" cy="1241045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36BB8EE7-0DAE-475A-99CB-4C95B9C4174D}"/>
                </a:ext>
              </a:extLst>
            </p:cNvPr>
            <p:cNvSpPr/>
            <p:nvPr/>
          </p:nvSpPr>
          <p:spPr>
            <a:xfrm>
              <a:off x="6380216" y="4059273"/>
              <a:ext cx="2905863" cy="346936"/>
            </a:xfrm>
            <a:custGeom>
              <a:avLst/>
              <a:gdLst>
                <a:gd name="connsiteX0" fmla="*/ 0 w 2905863"/>
                <a:gd name="connsiteY0" fmla="*/ 0 h 346936"/>
                <a:gd name="connsiteX1" fmla="*/ 2905864 w 2905863"/>
                <a:gd name="connsiteY1" fmla="*/ 0 h 346936"/>
                <a:gd name="connsiteX2" fmla="*/ 2905864 w 2905863"/>
                <a:gd name="connsiteY2" fmla="*/ 346937 h 346936"/>
                <a:gd name="connsiteX3" fmla="*/ 0 w 2905863"/>
                <a:gd name="connsiteY3" fmla="*/ 346937 h 34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346936">
                  <a:moveTo>
                    <a:pt x="0" y="0"/>
                  </a:moveTo>
                  <a:lnTo>
                    <a:pt x="2905864" y="0"/>
                  </a:lnTo>
                  <a:lnTo>
                    <a:pt x="2905864" y="346937"/>
                  </a:lnTo>
                  <a:lnTo>
                    <a:pt x="0" y="346937"/>
                  </a:lnTo>
                  <a:close/>
                </a:path>
              </a:pathLst>
            </a:custGeom>
            <a:solidFill>
              <a:srgbClr val="99D9F0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E34A211-0C55-472F-A8C7-DF7C115B4E36}"/>
                </a:ext>
              </a:extLst>
            </p:cNvPr>
            <p:cNvSpPr/>
            <p:nvPr/>
          </p:nvSpPr>
          <p:spPr>
            <a:xfrm>
              <a:off x="6380216" y="4521775"/>
              <a:ext cx="2905863" cy="57854"/>
            </a:xfrm>
            <a:custGeom>
              <a:avLst/>
              <a:gdLst>
                <a:gd name="connsiteX0" fmla="*/ 0 w 2905863"/>
                <a:gd name="connsiteY0" fmla="*/ 0 h 57854"/>
                <a:gd name="connsiteX1" fmla="*/ 2905864 w 2905863"/>
                <a:gd name="connsiteY1" fmla="*/ 0 h 57854"/>
                <a:gd name="connsiteX2" fmla="*/ 2905864 w 2905863"/>
                <a:gd name="connsiteY2" fmla="*/ 57854 h 57854"/>
                <a:gd name="connsiteX3" fmla="*/ 0 w 2905863"/>
                <a:gd name="connsiteY3" fmla="*/ 57854 h 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57854">
                  <a:moveTo>
                    <a:pt x="0" y="0"/>
                  </a:moveTo>
                  <a:lnTo>
                    <a:pt x="2905864" y="0"/>
                  </a:lnTo>
                  <a:lnTo>
                    <a:pt x="2905864" y="57854"/>
                  </a:lnTo>
                  <a:lnTo>
                    <a:pt x="0" y="57854"/>
                  </a:lnTo>
                  <a:close/>
                </a:path>
              </a:pathLst>
            </a:custGeom>
            <a:solidFill>
              <a:srgbClr val="3F9C35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DB3FBA2-AFC9-409D-945D-4CFDE6BBEE6A}"/>
                </a:ext>
              </a:extLst>
            </p:cNvPr>
            <p:cNvSpPr/>
            <p:nvPr/>
          </p:nvSpPr>
          <p:spPr>
            <a:xfrm>
              <a:off x="6380216" y="4637294"/>
              <a:ext cx="2905863" cy="115566"/>
            </a:xfrm>
            <a:custGeom>
              <a:avLst/>
              <a:gdLst>
                <a:gd name="connsiteX0" fmla="*/ 0 w 2905863"/>
                <a:gd name="connsiteY0" fmla="*/ 0 h 115566"/>
                <a:gd name="connsiteX1" fmla="*/ 2905864 w 2905863"/>
                <a:gd name="connsiteY1" fmla="*/ 0 h 115566"/>
                <a:gd name="connsiteX2" fmla="*/ 2905864 w 2905863"/>
                <a:gd name="connsiteY2" fmla="*/ 115566 h 115566"/>
                <a:gd name="connsiteX3" fmla="*/ 0 w 2905863"/>
                <a:gd name="connsiteY3" fmla="*/ 115566 h 115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115566">
                  <a:moveTo>
                    <a:pt x="0" y="0"/>
                  </a:moveTo>
                  <a:lnTo>
                    <a:pt x="2905864" y="0"/>
                  </a:lnTo>
                  <a:lnTo>
                    <a:pt x="2905864" y="115566"/>
                  </a:lnTo>
                  <a:lnTo>
                    <a:pt x="0" y="115566"/>
                  </a:lnTo>
                  <a:close/>
                </a:path>
              </a:pathLst>
            </a:custGeom>
            <a:solidFill>
              <a:srgbClr val="00359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DF6B560-906C-4643-86C4-C545FCBD8975}"/>
                </a:ext>
              </a:extLst>
            </p:cNvPr>
            <p:cNvSpPr/>
            <p:nvPr/>
          </p:nvSpPr>
          <p:spPr>
            <a:xfrm>
              <a:off x="7833598" y="4927183"/>
              <a:ext cx="392545" cy="373134"/>
            </a:xfrm>
            <a:custGeom>
              <a:avLst/>
              <a:gdLst>
                <a:gd name="connsiteX0" fmla="*/ 303984 w 392545"/>
                <a:gd name="connsiteY0" fmla="*/ 19174 h 373134"/>
                <a:gd name="connsiteX1" fmla="*/ 201992 w 392545"/>
                <a:gd name="connsiteY1" fmla="*/ 0 h 373134"/>
                <a:gd name="connsiteX2" fmla="*/ 62173 w 392545"/>
                <a:gd name="connsiteY2" fmla="*/ 0 h 373134"/>
                <a:gd name="connsiteX3" fmla="*/ 27859 w 392545"/>
                <a:gd name="connsiteY3" fmla="*/ 0 h 373134"/>
                <a:gd name="connsiteX4" fmla="*/ 0 w 392545"/>
                <a:gd name="connsiteY4" fmla="*/ 0 h 373134"/>
                <a:gd name="connsiteX5" fmla="*/ 0 w 392545"/>
                <a:gd name="connsiteY5" fmla="*/ 373135 h 373134"/>
                <a:gd name="connsiteX6" fmla="*/ 27859 w 392545"/>
                <a:gd name="connsiteY6" fmla="*/ 373135 h 373134"/>
                <a:gd name="connsiteX7" fmla="*/ 62173 w 392545"/>
                <a:gd name="connsiteY7" fmla="*/ 373135 h 373134"/>
                <a:gd name="connsiteX8" fmla="*/ 201992 w 392545"/>
                <a:gd name="connsiteY8" fmla="*/ 373135 h 373134"/>
                <a:gd name="connsiteX9" fmla="*/ 303984 w 392545"/>
                <a:gd name="connsiteY9" fmla="*/ 353961 h 373134"/>
                <a:gd name="connsiteX10" fmla="*/ 369670 w 392545"/>
                <a:gd name="connsiteY10" fmla="*/ 296249 h 373134"/>
                <a:gd name="connsiteX11" fmla="*/ 392546 w 392545"/>
                <a:gd name="connsiteY11" fmla="*/ 199477 h 373134"/>
                <a:gd name="connsiteX12" fmla="*/ 392546 w 392545"/>
                <a:gd name="connsiteY12" fmla="*/ 173611 h 373134"/>
                <a:gd name="connsiteX13" fmla="*/ 369670 w 392545"/>
                <a:gd name="connsiteY13" fmla="*/ 76839 h 373134"/>
                <a:gd name="connsiteX14" fmla="*/ 303984 w 392545"/>
                <a:gd name="connsiteY14" fmla="*/ 19174 h 373134"/>
                <a:gd name="connsiteX15" fmla="*/ 331369 w 392545"/>
                <a:gd name="connsiteY15" fmla="*/ 197531 h 373134"/>
                <a:gd name="connsiteX16" fmla="*/ 299048 w 392545"/>
                <a:gd name="connsiteY16" fmla="*/ 287563 h 373134"/>
                <a:gd name="connsiteX17" fmla="*/ 202514 w 392545"/>
                <a:gd name="connsiteY17" fmla="*/ 316894 h 373134"/>
                <a:gd name="connsiteX18" fmla="*/ 62221 w 392545"/>
                <a:gd name="connsiteY18" fmla="*/ 316894 h 373134"/>
                <a:gd name="connsiteX19" fmla="*/ 62221 w 392545"/>
                <a:gd name="connsiteY19" fmla="*/ 56193 h 373134"/>
                <a:gd name="connsiteX20" fmla="*/ 202514 w 392545"/>
                <a:gd name="connsiteY20" fmla="*/ 56193 h 373134"/>
                <a:gd name="connsiteX21" fmla="*/ 299048 w 392545"/>
                <a:gd name="connsiteY21" fmla="*/ 84812 h 373134"/>
                <a:gd name="connsiteX22" fmla="*/ 331369 w 392545"/>
                <a:gd name="connsiteY22" fmla="*/ 175604 h 373134"/>
                <a:gd name="connsiteX23" fmla="*/ 331369 w 392545"/>
                <a:gd name="connsiteY23" fmla="*/ 197531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2545" h="373134">
                  <a:moveTo>
                    <a:pt x="303984" y="19174"/>
                  </a:moveTo>
                  <a:cubicBezTo>
                    <a:pt x="275461" y="6407"/>
                    <a:pt x="241479" y="0"/>
                    <a:pt x="201992" y="0"/>
                  </a:cubicBezTo>
                  <a:lnTo>
                    <a:pt x="62173" y="0"/>
                  </a:lnTo>
                  <a:lnTo>
                    <a:pt x="27859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27859" y="373135"/>
                  </a:lnTo>
                  <a:lnTo>
                    <a:pt x="62173" y="373135"/>
                  </a:lnTo>
                  <a:lnTo>
                    <a:pt x="201992" y="373135"/>
                  </a:lnTo>
                  <a:cubicBezTo>
                    <a:pt x="241479" y="373135"/>
                    <a:pt x="275461" y="366728"/>
                    <a:pt x="303984" y="353961"/>
                  </a:cubicBezTo>
                  <a:cubicBezTo>
                    <a:pt x="332508" y="341194"/>
                    <a:pt x="354387" y="321972"/>
                    <a:pt x="369670" y="296249"/>
                  </a:cubicBezTo>
                  <a:cubicBezTo>
                    <a:pt x="384904" y="270525"/>
                    <a:pt x="392546" y="238299"/>
                    <a:pt x="392546" y="199477"/>
                  </a:cubicBezTo>
                  <a:lnTo>
                    <a:pt x="392546" y="173611"/>
                  </a:lnTo>
                  <a:cubicBezTo>
                    <a:pt x="392546" y="134788"/>
                    <a:pt x="384904" y="102562"/>
                    <a:pt x="369670" y="76839"/>
                  </a:cubicBezTo>
                  <a:cubicBezTo>
                    <a:pt x="354387" y="51162"/>
                    <a:pt x="332508" y="31941"/>
                    <a:pt x="303984" y="19174"/>
                  </a:cubicBezTo>
                  <a:close/>
                  <a:moveTo>
                    <a:pt x="331369" y="197531"/>
                  </a:moveTo>
                  <a:cubicBezTo>
                    <a:pt x="331369" y="238015"/>
                    <a:pt x="320596" y="268010"/>
                    <a:pt x="299048" y="287563"/>
                  </a:cubicBezTo>
                  <a:cubicBezTo>
                    <a:pt x="277502" y="307117"/>
                    <a:pt x="245323" y="316894"/>
                    <a:pt x="202514" y="316894"/>
                  </a:cubicBezTo>
                  <a:lnTo>
                    <a:pt x="62221" y="316894"/>
                  </a:lnTo>
                  <a:lnTo>
                    <a:pt x="62221" y="56193"/>
                  </a:lnTo>
                  <a:lnTo>
                    <a:pt x="202514" y="56193"/>
                  </a:lnTo>
                  <a:cubicBezTo>
                    <a:pt x="245323" y="56193"/>
                    <a:pt x="277454" y="65733"/>
                    <a:pt x="299048" y="84812"/>
                  </a:cubicBezTo>
                  <a:cubicBezTo>
                    <a:pt x="320596" y="103891"/>
                    <a:pt x="331369" y="134171"/>
                    <a:pt x="331369" y="175604"/>
                  </a:cubicBezTo>
                  <a:lnTo>
                    <a:pt x="331369" y="197531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C24D933-C961-4320-84B8-2B098CBD0E95}"/>
                </a:ext>
              </a:extLst>
            </p:cNvPr>
            <p:cNvSpPr/>
            <p:nvPr/>
          </p:nvSpPr>
          <p:spPr>
            <a:xfrm>
              <a:off x="8344036" y="4927183"/>
              <a:ext cx="410485" cy="373134"/>
            </a:xfrm>
            <a:custGeom>
              <a:avLst/>
              <a:gdLst>
                <a:gd name="connsiteX0" fmla="*/ 349262 w 410485"/>
                <a:gd name="connsiteY0" fmla="*/ 291598 h 373134"/>
                <a:gd name="connsiteX1" fmla="*/ 60702 w 410485"/>
                <a:gd name="connsiteY1" fmla="*/ 0 h 373134"/>
                <a:gd name="connsiteX2" fmla="*/ 26388 w 410485"/>
                <a:gd name="connsiteY2" fmla="*/ 0 h 373134"/>
                <a:gd name="connsiteX3" fmla="*/ 0 w 410485"/>
                <a:gd name="connsiteY3" fmla="*/ 0 h 373134"/>
                <a:gd name="connsiteX4" fmla="*/ 0 w 410485"/>
                <a:gd name="connsiteY4" fmla="*/ 373135 h 373134"/>
                <a:gd name="connsiteX5" fmla="*/ 60702 w 410485"/>
                <a:gd name="connsiteY5" fmla="*/ 373135 h 373134"/>
                <a:gd name="connsiteX6" fmla="*/ 60702 w 410485"/>
                <a:gd name="connsiteY6" fmla="*/ 81917 h 373134"/>
                <a:gd name="connsiteX7" fmla="*/ 349262 w 410485"/>
                <a:gd name="connsiteY7" fmla="*/ 373135 h 373134"/>
                <a:gd name="connsiteX8" fmla="*/ 410486 w 410485"/>
                <a:gd name="connsiteY8" fmla="*/ 373135 h 373134"/>
                <a:gd name="connsiteX9" fmla="*/ 410486 w 410485"/>
                <a:gd name="connsiteY9" fmla="*/ 0 h 373134"/>
                <a:gd name="connsiteX10" fmla="*/ 349262 w 410485"/>
                <a:gd name="connsiteY10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485" h="373134">
                  <a:moveTo>
                    <a:pt x="349262" y="291598"/>
                  </a:moveTo>
                  <a:lnTo>
                    <a:pt x="60702" y="0"/>
                  </a:lnTo>
                  <a:lnTo>
                    <a:pt x="26388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60702" y="373135"/>
                  </a:lnTo>
                  <a:lnTo>
                    <a:pt x="60702" y="81917"/>
                  </a:lnTo>
                  <a:lnTo>
                    <a:pt x="349262" y="373135"/>
                  </a:lnTo>
                  <a:lnTo>
                    <a:pt x="410486" y="373135"/>
                  </a:lnTo>
                  <a:lnTo>
                    <a:pt x="410486" y="0"/>
                  </a:lnTo>
                  <a:lnTo>
                    <a:pt x="349262" y="0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593D8CD1-B7C6-4727-A773-7D9B1A7CD8D6}"/>
                </a:ext>
              </a:extLst>
            </p:cNvPr>
            <p:cNvSpPr/>
            <p:nvPr/>
          </p:nvSpPr>
          <p:spPr>
            <a:xfrm>
              <a:off x="8863965" y="4927183"/>
              <a:ext cx="421876" cy="373134"/>
            </a:xfrm>
            <a:custGeom>
              <a:avLst/>
              <a:gdLst>
                <a:gd name="connsiteX0" fmla="*/ 355716 w 421876"/>
                <a:gd name="connsiteY0" fmla="*/ 0 h 373134"/>
                <a:gd name="connsiteX1" fmla="*/ 212955 w 421876"/>
                <a:gd name="connsiteY1" fmla="*/ 291598 h 373134"/>
                <a:gd name="connsiteX2" fmla="*/ 70146 w 421876"/>
                <a:gd name="connsiteY2" fmla="*/ 0 h 373134"/>
                <a:gd name="connsiteX3" fmla="*/ 0 w 421876"/>
                <a:gd name="connsiteY3" fmla="*/ 0 h 373134"/>
                <a:gd name="connsiteX4" fmla="*/ 187042 w 421876"/>
                <a:gd name="connsiteY4" fmla="*/ 373135 h 373134"/>
                <a:gd name="connsiteX5" fmla="*/ 235309 w 421876"/>
                <a:gd name="connsiteY5" fmla="*/ 373135 h 373134"/>
                <a:gd name="connsiteX6" fmla="*/ 421876 w 421876"/>
                <a:gd name="connsiteY6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876" h="373134">
                  <a:moveTo>
                    <a:pt x="355716" y="0"/>
                  </a:moveTo>
                  <a:lnTo>
                    <a:pt x="212955" y="291598"/>
                  </a:lnTo>
                  <a:lnTo>
                    <a:pt x="70146" y="0"/>
                  </a:lnTo>
                  <a:lnTo>
                    <a:pt x="0" y="0"/>
                  </a:lnTo>
                  <a:lnTo>
                    <a:pt x="187042" y="373135"/>
                  </a:lnTo>
                  <a:lnTo>
                    <a:pt x="235309" y="373135"/>
                  </a:lnTo>
                  <a:lnTo>
                    <a:pt x="421876" y="0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39749" y="1270793"/>
            <a:ext cx="6407151" cy="4316414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2000"/>
            </a:lvl4pPr>
            <a:lvl5pPr>
              <a:defRPr sz="2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6000"/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067675" y="1270793"/>
            <a:ext cx="3582988" cy="4316414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2000"/>
            </a:lvl4pPr>
            <a:lvl5pPr>
              <a:defRPr sz="2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6000"/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25" name="SD_FLD_Draft" hidden="1">
            <a:extLst>
              <a:ext uri="{FF2B5EF4-FFF2-40B4-BE49-F238E27FC236}">
                <a16:creationId xmlns:a16="http://schemas.microsoft.com/office/drawing/2014/main" id="{BFB769A5-7146-4BE1-99CA-135A2E15C9C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27" name="SD_FLD_Confidentiality">
            <a:extLst>
              <a:ext uri="{FF2B5EF4-FFF2-40B4-BE49-F238E27FC236}">
                <a16:creationId xmlns:a16="http://schemas.microsoft.com/office/drawing/2014/main" id="{8E5EBD54-68A6-426B-B8F6-B31B70F04964}"/>
              </a:ext>
            </a:extLst>
          </p:cNvPr>
          <p:cNvSpPr/>
          <p:nvPr userDrawn="1"/>
        </p:nvSpPr>
        <p:spPr>
          <a:xfrm>
            <a:off x="7131600" y="6440400"/>
            <a:ext cx="2440800" cy="1512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GB" sz="700" b="0" kern="1200" cap="all" baseline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_SD_FLD_Copyright">
            <a:extLst>
              <a:ext uri="{FF2B5EF4-FFF2-40B4-BE49-F238E27FC236}">
                <a16:creationId xmlns:a16="http://schemas.microsoft.com/office/drawing/2014/main" id="{681E217F-EF5A-4DDD-9F13-36888DF3AE34}"/>
              </a:ext>
            </a:extLst>
          </p:cNvPr>
          <p:cNvSpPr txBox="1"/>
          <p:nvPr userDrawn="1"/>
        </p:nvSpPr>
        <p:spPr>
          <a:xfrm>
            <a:off x="818923" y="6449138"/>
            <a:ext cx="27892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noProof="0" dirty="0">
                <a:solidFill>
                  <a:schemeClr val="accent1"/>
                </a:solidFill>
              </a:rPr>
              <a:t>DNV ©</a:t>
            </a:r>
          </a:p>
        </p:txBody>
      </p:sp>
      <p:sp>
        <p:nvSpPr>
          <p:cNvPr id="29" name="Footer Placeholder 11">
            <a:extLst>
              <a:ext uri="{FF2B5EF4-FFF2-40B4-BE49-F238E27FC236}">
                <a16:creationId xmlns:a16="http://schemas.microsoft.com/office/drawing/2014/main" id="{5043B827-882F-41BB-8BB6-5E84A80913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0596" y="6439418"/>
            <a:ext cx="834040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700" dirty="0">
                <a:solidFill>
                  <a:schemeClr val="accent1"/>
                </a:solidFill>
              </a:defRPr>
            </a:lvl1pPr>
          </a:lstStyle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30" name="Slide Number Placeholder 12">
            <a:extLst>
              <a:ext uri="{FF2B5EF4-FFF2-40B4-BE49-F238E27FC236}">
                <a16:creationId xmlns:a16="http://schemas.microsoft.com/office/drawing/2014/main" id="{1ABF67DE-B3B9-4B9F-A00D-0DF18C6A5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392" y="644740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700" smtClean="0">
                <a:solidFill>
                  <a:schemeClr val="accent1"/>
                </a:solidFill>
              </a:defRPr>
            </a:lvl1pPr>
          </a:lstStyle>
          <a:p>
            <a:fld id="{300F8F77-4347-4BF0-A9D7-4E51985595A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1" name="Date Placeholder 9">
            <a:extLst>
              <a:ext uri="{FF2B5EF4-FFF2-40B4-BE49-F238E27FC236}">
                <a16:creationId xmlns:a16="http://schemas.microsoft.com/office/drawing/2014/main" id="{78AACF5E-8CF3-4CA8-96DD-874E9CB2833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68587" y="6445820"/>
            <a:ext cx="107134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GB" sz="700" smtClean="0">
                <a:solidFill>
                  <a:schemeClr val="accent1"/>
                </a:solidFill>
              </a:defRPr>
            </a:lvl1pPr>
          </a:lstStyle>
          <a:p>
            <a:r>
              <a:rPr lang="en-US"/>
              <a:t>Rev. 1.0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98575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0B103E29-9BF2-491F-A31B-CD5C222301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749" y="1270793"/>
            <a:ext cx="3584576" cy="4316414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to add text (Enter+TAB for next text level, SHIFT+TAB to go back in levels)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 noProof="0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45099" y="1270793"/>
            <a:ext cx="2641601" cy="43164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to add text (Enter+TAB for next text level, SHIFT+TAB to go back in levels)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725A8F3-C789-43A7-B9C7-C2E8AD06CA8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007475" y="1270793"/>
            <a:ext cx="2641601" cy="43164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to add text (Enter+TAB for next text level, SHIFT+TAB to go back in levels)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13" name="Footer Placeholder 11">
            <a:extLst>
              <a:ext uri="{FF2B5EF4-FFF2-40B4-BE49-F238E27FC236}">
                <a16:creationId xmlns:a16="http://schemas.microsoft.com/office/drawing/2014/main" id="{3ED1365C-8D3A-4611-B390-3A63AE7ECC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0596" y="6439418"/>
            <a:ext cx="834040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700" dirty="0">
                <a:solidFill>
                  <a:schemeClr val="accent1"/>
                </a:solidFill>
              </a:defRPr>
            </a:lvl1pPr>
          </a:lstStyle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14" name="Slide Number Placeholder 12">
            <a:extLst>
              <a:ext uri="{FF2B5EF4-FFF2-40B4-BE49-F238E27FC236}">
                <a16:creationId xmlns:a16="http://schemas.microsoft.com/office/drawing/2014/main" id="{1F19C840-DC4D-4C7B-8A90-8840318013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392" y="644740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700" smtClean="0">
                <a:solidFill>
                  <a:schemeClr val="accent1"/>
                </a:solidFill>
              </a:defRPr>
            </a:lvl1pPr>
          </a:lstStyle>
          <a:p>
            <a:fld id="{300F8F77-4347-4BF0-A9D7-4E51985595A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AC85B337-0B34-4F20-ABCD-20B64618A70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268587" y="6445820"/>
            <a:ext cx="107134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GB" sz="700" smtClean="0">
                <a:solidFill>
                  <a:schemeClr val="accent1"/>
                </a:solidFill>
              </a:defRPr>
            </a:lvl1pPr>
          </a:lstStyle>
          <a:p>
            <a:r>
              <a:rPr lang="en-US"/>
              <a:t>Rev. 1.0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984488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ntent, gre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8A33FA6-1C4E-42C4-8006-62087DF1C543}"/>
              </a:ext>
            </a:extLst>
          </p:cNvPr>
          <p:cNvSpPr/>
          <p:nvPr userDrawn="1"/>
        </p:nvSpPr>
        <p:spPr>
          <a:xfrm>
            <a:off x="0" y="-1800"/>
            <a:ext cx="12192000" cy="6861600"/>
          </a:xfrm>
          <a:prstGeom prst="rect">
            <a:avLst/>
          </a:prstGeom>
          <a:solidFill>
            <a:srgbClr val="EE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786373BD-6312-4785-AB25-0C8D34698A7B}"/>
              </a:ext>
            </a:extLst>
          </p:cNvPr>
          <p:cNvGrpSpPr/>
          <p:nvPr userDrawn="1"/>
        </p:nvGrpSpPr>
        <p:grpSpPr>
          <a:xfrm>
            <a:off x="10893210" y="6350918"/>
            <a:ext cx="755843" cy="322808"/>
            <a:chOff x="6380216" y="4059273"/>
            <a:chExt cx="2905863" cy="1241045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59A879B-ABBD-4A04-9477-6154675E4CEB}"/>
                </a:ext>
              </a:extLst>
            </p:cNvPr>
            <p:cNvSpPr/>
            <p:nvPr/>
          </p:nvSpPr>
          <p:spPr>
            <a:xfrm>
              <a:off x="6380216" y="4059273"/>
              <a:ext cx="2905863" cy="346936"/>
            </a:xfrm>
            <a:custGeom>
              <a:avLst/>
              <a:gdLst>
                <a:gd name="connsiteX0" fmla="*/ 0 w 2905863"/>
                <a:gd name="connsiteY0" fmla="*/ 0 h 346936"/>
                <a:gd name="connsiteX1" fmla="*/ 2905864 w 2905863"/>
                <a:gd name="connsiteY1" fmla="*/ 0 h 346936"/>
                <a:gd name="connsiteX2" fmla="*/ 2905864 w 2905863"/>
                <a:gd name="connsiteY2" fmla="*/ 346937 h 346936"/>
                <a:gd name="connsiteX3" fmla="*/ 0 w 2905863"/>
                <a:gd name="connsiteY3" fmla="*/ 346937 h 34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346936">
                  <a:moveTo>
                    <a:pt x="0" y="0"/>
                  </a:moveTo>
                  <a:lnTo>
                    <a:pt x="2905864" y="0"/>
                  </a:lnTo>
                  <a:lnTo>
                    <a:pt x="2905864" y="346937"/>
                  </a:lnTo>
                  <a:lnTo>
                    <a:pt x="0" y="346937"/>
                  </a:lnTo>
                  <a:close/>
                </a:path>
              </a:pathLst>
            </a:custGeom>
            <a:solidFill>
              <a:srgbClr val="99D9F0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0D20163-892E-44FF-9991-ABC1BF13FFCD}"/>
                </a:ext>
              </a:extLst>
            </p:cNvPr>
            <p:cNvSpPr/>
            <p:nvPr/>
          </p:nvSpPr>
          <p:spPr>
            <a:xfrm>
              <a:off x="6380216" y="4521775"/>
              <a:ext cx="2905863" cy="57854"/>
            </a:xfrm>
            <a:custGeom>
              <a:avLst/>
              <a:gdLst>
                <a:gd name="connsiteX0" fmla="*/ 0 w 2905863"/>
                <a:gd name="connsiteY0" fmla="*/ 0 h 57854"/>
                <a:gd name="connsiteX1" fmla="*/ 2905864 w 2905863"/>
                <a:gd name="connsiteY1" fmla="*/ 0 h 57854"/>
                <a:gd name="connsiteX2" fmla="*/ 2905864 w 2905863"/>
                <a:gd name="connsiteY2" fmla="*/ 57854 h 57854"/>
                <a:gd name="connsiteX3" fmla="*/ 0 w 2905863"/>
                <a:gd name="connsiteY3" fmla="*/ 57854 h 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57854">
                  <a:moveTo>
                    <a:pt x="0" y="0"/>
                  </a:moveTo>
                  <a:lnTo>
                    <a:pt x="2905864" y="0"/>
                  </a:lnTo>
                  <a:lnTo>
                    <a:pt x="2905864" y="57854"/>
                  </a:lnTo>
                  <a:lnTo>
                    <a:pt x="0" y="57854"/>
                  </a:lnTo>
                  <a:close/>
                </a:path>
              </a:pathLst>
            </a:custGeom>
            <a:solidFill>
              <a:srgbClr val="3F9C35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CDE72FB-849D-47F9-B4E9-277EA2622D69}"/>
                </a:ext>
              </a:extLst>
            </p:cNvPr>
            <p:cNvSpPr/>
            <p:nvPr/>
          </p:nvSpPr>
          <p:spPr>
            <a:xfrm>
              <a:off x="6380216" y="4637294"/>
              <a:ext cx="2905863" cy="115566"/>
            </a:xfrm>
            <a:custGeom>
              <a:avLst/>
              <a:gdLst>
                <a:gd name="connsiteX0" fmla="*/ 0 w 2905863"/>
                <a:gd name="connsiteY0" fmla="*/ 0 h 115566"/>
                <a:gd name="connsiteX1" fmla="*/ 2905864 w 2905863"/>
                <a:gd name="connsiteY1" fmla="*/ 0 h 115566"/>
                <a:gd name="connsiteX2" fmla="*/ 2905864 w 2905863"/>
                <a:gd name="connsiteY2" fmla="*/ 115566 h 115566"/>
                <a:gd name="connsiteX3" fmla="*/ 0 w 2905863"/>
                <a:gd name="connsiteY3" fmla="*/ 115566 h 115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115566">
                  <a:moveTo>
                    <a:pt x="0" y="0"/>
                  </a:moveTo>
                  <a:lnTo>
                    <a:pt x="2905864" y="0"/>
                  </a:lnTo>
                  <a:lnTo>
                    <a:pt x="2905864" y="115566"/>
                  </a:lnTo>
                  <a:lnTo>
                    <a:pt x="0" y="115566"/>
                  </a:lnTo>
                  <a:close/>
                </a:path>
              </a:pathLst>
            </a:custGeom>
            <a:solidFill>
              <a:srgbClr val="00359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6D47151-F3A9-4197-B445-BAF922408872}"/>
                </a:ext>
              </a:extLst>
            </p:cNvPr>
            <p:cNvSpPr/>
            <p:nvPr/>
          </p:nvSpPr>
          <p:spPr>
            <a:xfrm>
              <a:off x="7833598" y="4927183"/>
              <a:ext cx="392545" cy="373134"/>
            </a:xfrm>
            <a:custGeom>
              <a:avLst/>
              <a:gdLst>
                <a:gd name="connsiteX0" fmla="*/ 303984 w 392545"/>
                <a:gd name="connsiteY0" fmla="*/ 19174 h 373134"/>
                <a:gd name="connsiteX1" fmla="*/ 201992 w 392545"/>
                <a:gd name="connsiteY1" fmla="*/ 0 h 373134"/>
                <a:gd name="connsiteX2" fmla="*/ 62173 w 392545"/>
                <a:gd name="connsiteY2" fmla="*/ 0 h 373134"/>
                <a:gd name="connsiteX3" fmla="*/ 27859 w 392545"/>
                <a:gd name="connsiteY3" fmla="*/ 0 h 373134"/>
                <a:gd name="connsiteX4" fmla="*/ 0 w 392545"/>
                <a:gd name="connsiteY4" fmla="*/ 0 h 373134"/>
                <a:gd name="connsiteX5" fmla="*/ 0 w 392545"/>
                <a:gd name="connsiteY5" fmla="*/ 373135 h 373134"/>
                <a:gd name="connsiteX6" fmla="*/ 27859 w 392545"/>
                <a:gd name="connsiteY6" fmla="*/ 373135 h 373134"/>
                <a:gd name="connsiteX7" fmla="*/ 62173 w 392545"/>
                <a:gd name="connsiteY7" fmla="*/ 373135 h 373134"/>
                <a:gd name="connsiteX8" fmla="*/ 201992 w 392545"/>
                <a:gd name="connsiteY8" fmla="*/ 373135 h 373134"/>
                <a:gd name="connsiteX9" fmla="*/ 303984 w 392545"/>
                <a:gd name="connsiteY9" fmla="*/ 353961 h 373134"/>
                <a:gd name="connsiteX10" fmla="*/ 369670 w 392545"/>
                <a:gd name="connsiteY10" fmla="*/ 296249 h 373134"/>
                <a:gd name="connsiteX11" fmla="*/ 392546 w 392545"/>
                <a:gd name="connsiteY11" fmla="*/ 199477 h 373134"/>
                <a:gd name="connsiteX12" fmla="*/ 392546 w 392545"/>
                <a:gd name="connsiteY12" fmla="*/ 173611 h 373134"/>
                <a:gd name="connsiteX13" fmla="*/ 369670 w 392545"/>
                <a:gd name="connsiteY13" fmla="*/ 76839 h 373134"/>
                <a:gd name="connsiteX14" fmla="*/ 303984 w 392545"/>
                <a:gd name="connsiteY14" fmla="*/ 19174 h 373134"/>
                <a:gd name="connsiteX15" fmla="*/ 331369 w 392545"/>
                <a:gd name="connsiteY15" fmla="*/ 197531 h 373134"/>
                <a:gd name="connsiteX16" fmla="*/ 299048 w 392545"/>
                <a:gd name="connsiteY16" fmla="*/ 287563 h 373134"/>
                <a:gd name="connsiteX17" fmla="*/ 202514 w 392545"/>
                <a:gd name="connsiteY17" fmla="*/ 316894 h 373134"/>
                <a:gd name="connsiteX18" fmla="*/ 62221 w 392545"/>
                <a:gd name="connsiteY18" fmla="*/ 316894 h 373134"/>
                <a:gd name="connsiteX19" fmla="*/ 62221 w 392545"/>
                <a:gd name="connsiteY19" fmla="*/ 56193 h 373134"/>
                <a:gd name="connsiteX20" fmla="*/ 202514 w 392545"/>
                <a:gd name="connsiteY20" fmla="*/ 56193 h 373134"/>
                <a:gd name="connsiteX21" fmla="*/ 299048 w 392545"/>
                <a:gd name="connsiteY21" fmla="*/ 84812 h 373134"/>
                <a:gd name="connsiteX22" fmla="*/ 331369 w 392545"/>
                <a:gd name="connsiteY22" fmla="*/ 175604 h 373134"/>
                <a:gd name="connsiteX23" fmla="*/ 331369 w 392545"/>
                <a:gd name="connsiteY23" fmla="*/ 197531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2545" h="373134">
                  <a:moveTo>
                    <a:pt x="303984" y="19174"/>
                  </a:moveTo>
                  <a:cubicBezTo>
                    <a:pt x="275461" y="6407"/>
                    <a:pt x="241479" y="0"/>
                    <a:pt x="201992" y="0"/>
                  </a:cubicBezTo>
                  <a:lnTo>
                    <a:pt x="62173" y="0"/>
                  </a:lnTo>
                  <a:lnTo>
                    <a:pt x="27859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27859" y="373135"/>
                  </a:lnTo>
                  <a:lnTo>
                    <a:pt x="62173" y="373135"/>
                  </a:lnTo>
                  <a:lnTo>
                    <a:pt x="201992" y="373135"/>
                  </a:lnTo>
                  <a:cubicBezTo>
                    <a:pt x="241479" y="373135"/>
                    <a:pt x="275461" y="366728"/>
                    <a:pt x="303984" y="353961"/>
                  </a:cubicBezTo>
                  <a:cubicBezTo>
                    <a:pt x="332508" y="341194"/>
                    <a:pt x="354387" y="321972"/>
                    <a:pt x="369670" y="296249"/>
                  </a:cubicBezTo>
                  <a:cubicBezTo>
                    <a:pt x="384904" y="270525"/>
                    <a:pt x="392546" y="238299"/>
                    <a:pt x="392546" y="199477"/>
                  </a:cubicBezTo>
                  <a:lnTo>
                    <a:pt x="392546" y="173611"/>
                  </a:lnTo>
                  <a:cubicBezTo>
                    <a:pt x="392546" y="134788"/>
                    <a:pt x="384904" y="102562"/>
                    <a:pt x="369670" y="76839"/>
                  </a:cubicBezTo>
                  <a:cubicBezTo>
                    <a:pt x="354387" y="51162"/>
                    <a:pt x="332508" y="31941"/>
                    <a:pt x="303984" y="19174"/>
                  </a:cubicBezTo>
                  <a:close/>
                  <a:moveTo>
                    <a:pt x="331369" y="197531"/>
                  </a:moveTo>
                  <a:cubicBezTo>
                    <a:pt x="331369" y="238015"/>
                    <a:pt x="320596" y="268010"/>
                    <a:pt x="299048" y="287563"/>
                  </a:cubicBezTo>
                  <a:cubicBezTo>
                    <a:pt x="277502" y="307117"/>
                    <a:pt x="245323" y="316894"/>
                    <a:pt x="202514" y="316894"/>
                  </a:cubicBezTo>
                  <a:lnTo>
                    <a:pt x="62221" y="316894"/>
                  </a:lnTo>
                  <a:lnTo>
                    <a:pt x="62221" y="56193"/>
                  </a:lnTo>
                  <a:lnTo>
                    <a:pt x="202514" y="56193"/>
                  </a:lnTo>
                  <a:cubicBezTo>
                    <a:pt x="245323" y="56193"/>
                    <a:pt x="277454" y="65733"/>
                    <a:pt x="299048" y="84812"/>
                  </a:cubicBezTo>
                  <a:cubicBezTo>
                    <a:pt x="320596" y="103891"/>
                    <a:pt x="331369" y="134171"/>
                    <a:pt x="331369" y="175604"/>
                  </a:cubicBezTo>
                  <a:lnTo>
                    <a:pt x="331369" y="197531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886374B-F400-46EE-AA11-2A1EC51357CB}"/>
                </a:ext>
              </a:extLst>
            </p:cNvPr>
            <p:cNvSpPr/>
            <p:nvPr/>
          </p:nvSpPr>
          <p:spPr>
            <a:xfrm>
              <a:off x="8344036" y="4927183"/>
              <a:ext cx="410485" cy="373134"/>
            </a:xfrm>
            <a:custGeom>
              <a:avLst/>
              <a:gdLst>
                <a:gd name="connsiteX0" fmla="*/ 349262 w 410485"/>
                <a:gd name="connsiteY0" fmla="*/ 291598 h 373134"/>
                <a:gd name="connsiteX1" fmla="*/ 60702 w 410485"/>
                <a:gd name="connsiteY1" fmla="*/ 0 h 373134"/>
                <a:gd name="connsiteX2" fmla="*/ 26388 w 410485"/>
                <a:gd name="connsiteY2" fmla="*/ 0 h 373134"/>
                <a:gd name="connsiteX3" fmla="*/ 0 w 410485"/>
                <a:gd name="connsiteY3" fmla="*/ 0 h 373134"/>
                <a:gd name="connsiteX4" fmla="*/ 0 w 410485"/>
                <a:gd name="connsiteY4" fmla="*/ 373135 h 373134"/>
                <a:gd name="connsiteX5" fmla="*/ 60702 w 410485"/>
                <a:gd name="connsiteY5" fmla="*/ 373135 h 373134"/>
                <a:gd name="connsiteX6" fmla="*/ 60702 w 410485"/>
                <a:gd name="connsiteY6" fmla="*/ 81917 h 373134"/>
                <a:gd name="connsiteX7" fmla="*/ 349262 w 410485"/>
                <a:gd name="connsiteY7" fmla="*/ 373135 h 373134"/>
                <a:gd name="connsiteX8" fmla="*/ 410486 w 410485"/>
                <a:gd name="connsiteY8" fmla="*/ 373135 h 373134"/>
                <a:gd name="connsiteX9" fmla="*/ 410486 w 410485"/>
                <a:gd name="connsiteY9" fmla="*/ 0 h 373134"/>
                <a:gd name="connsiteX10" fmla="*/ 349262 w 410485"/>
                <a:gd name="connsiteY10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485" h="373134">
                  <a:moveTo>
                    <a:pt x="349262" y="291598"/>
                  </a:moveTo>
                  <a:lnTo>
                    <a:pt x="60702" y="0"/>
                  </a:lnTo>
                  <a:lnTo>
                    <a:pt x="26388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60702" y="373135"/>
                  </a:lnTo>
                  <a:lnTo>
                    <a:pt x="60702" y="81917"/>
                  </a:lnTo>
                  <a:lnTo>
                    <a:pt x="349262" y="373135"/>
                  </a:lnTo>
                  <a:lnTo>
                    <a:pt x="410486" y="373135"/>
                  </a:lnTo>
                  <a:lnTo>
                    <a:pt x="410486" y="0"/>
                  </a:lnTo>
                  <a:lnTo>
                    <a:pt x="349262" y="0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F9F7A1C-77DA-4373-B4B2-DAA6FC4DE316}"/>
                </a:ext>
              </a:extLst>
            </p:cNvPr>
            <p:cNvSpPr/>
            <p:nvPr/>
          </p:nvSpPr>
          <p:spPr>
            <a:xfrm>
              <a:off x="8863965" y="4927183"/>
              <a:ext cx="421876" cy="373134"/>
            </a:xfrm>
            <a:custGeom>
              <a:avLst/>
              <a:gdLst>
                <a:gd name="connsiteX0" fmla="*/ 355716 w 421876"/>
                <a:gd name="connsiteY0" fmla="*/ 0 h 373134"/>
                <a:gd name="connsiteX1" fmla="*/ 212955 w 421876"/>
                <a:gd name="connsiteY1" fmla="*/ 291598 h 373134"/>
                <a:gd name="connsiteX2" fmla="*/ 70146 w 421876"/>
                <a:gd name="connsiteY2" fmla="*/ 0 h 373134"/>
                <a:gd name="connsiteX3" fmla="*/ 0 w 421876"/>
                <a:gd name="connsiteY3" fmla="*/ 0 h 373134"/>
                <a:gd name="connsiteX4" fmla="*/ 187042 w 421876"/>
                <a:gd name="connsiteY4" fmla="*/ 373135 h 373134"/>
                <a:gd name="connsiteX5" fmla="*/ 235309 w 421876"/>
                <a:gd name="connsiteY5" fmla="*/ 373135 h 373134"/>
                <a:gd name="connsiteX6" fmla="*/ 421876 w 421876"/>
                <a:gd name="connsiteY6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876" h="373134">
                  <a:moveTo>
                    <a:pt x="355716" y="0"/>
                  </a:moveTo>
                  <a:lnTo>
                    <a:pt x="212955" y="291598"/>
                  </a:lnTo>
                  <a:lnTo>
                    <a:pt x="70146" y="0"/>
                  </a:lnTo>
                  <a:lnTo>
                    <a:pt x="0" y="0"/>
                  </a:lnTo>
                  <a:lnTo>
                    <a:pt x="187042" y="373135"/>
                  </a:lnTo>
                  <a:lnTo>
                    <a:pt x="235309" y="373135"/>
                  </a:lnTo>
                  <a:lnTo>
                    <a:pt x="421876" y="0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0B103E29-9BF2-491F-A31B-CD5C222301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749" y="1270793"/>
            <a:ext cx="3584576" cy="4316414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 dirty="0"/>
              <a:t>Click to add text (</a:t>
            </a:r>
            <a:r>
              <a:rPr lang="en-GB" noProof="0" dirty="0" err="1"/>
              <a:t>Enter+TAB</a:t>
            </a:r>
            <a:r>
              <a:rPr lang="en-GB" noProof="0" dirty="0"/>
              <a:t> for next text level, SHIFT+TAB to go back in levels)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245099" y="1270793"/>
            <a:ext cx="2641601" cy="431641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to add text (Enter+TAB for next text level, SHIFT+TAB to go back in levels)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725A8F3-C789-43A7-B9C7-C2E8AD06CA8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007474" y="1270793"/>
            <a:ext cx="2643189" cy="4316412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to add text (Enter+TAB for next text level, SHIFT+TAB to go back in levels)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24" name="SD_FLD_Draft" hidden="1">
            <a:extLst>
              <a:ext uri="{FF2B5EF4-FFF2-40B4-BE49-F238E27FC236}">
                <a16:creationId xmlns:a16="http://schemas.microsoft.com/office/drawing/2014/main" id="{CB94A54D-DD3C-4298-BDF3-BD0A4E0485C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26" name="SD_FLD_Confidentiality">
            <a:extLst>
              <a:ext uri="{FF2B5EF4-FFF2-40B4-BE49-F238E27FC236}">
                <a16:creationId xmlns:a16="http://schemas.microsoft.com/office/drawing/2014/main" id="{13226BD7-8851-4901-A408-8E1422BBD689}"/>
              </a:ext>
            </a:extLst>
          </p:cNvPr>
          <p:cNvSpPr/>
          <p:nvPr userDrawn="1"/>
        </p:nvSpPr>
        <p:spPr>
          <a:xfrm>
            <a:off x="7131600" y="6440400"/>
            <a:ext cx="2440800" cy="1512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GB" sz="700" b="0" kern="1200" cap="all" baseline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_SD_FLD_Copyright">
            <a:extLst>
              <a:ext uri="{FF2B5EF4-FFF2-40B4-BE49-F238E27FC236}">
                <a16:creationId xmlns:a16="http://schemas.microsoft.com/office/drawing/2014/main" id="{8BE64594-FCAA-43C2-995D-555DAF74BCE3}"/>
              </a:ext>
            </a:extLst>
          </p:cNvPr>
          <p:cNvSpPr txBox="1"/>
          <p:nvPr userDrawn="1"/>
        </p:nvSpPr>
        <p:spPr>
          <a:xfrm>
            <a:off x="818923" y="6449138"/>
            <a:ext cx="27892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noProof="0" dirty="0">
                <a:solidFill>
                  <a:schemeClr val="accent1"/>
                </a:solidFill>
              </a:rPr>
              <a:t>DNV ©</a:t>
            </a:r>
          </a:p>
        </p:txBody>
      </p:sp>
      <p:sp>
        <p:nvSpPr>
          <p:cNvPr id="25" name="Footer Placeholder 11">
            <a:extLst>
              <a:ext uri="{FF2B5EF4-FFF2-40B4-BE49-F238E27FC236}">
                <a16:creationId xmlns:a16="http://schemas.microsoft.com/office/drawing/2014/main" id="{20D24376-41BF-4E8E-A8B7-CAE296BE89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0596" y="6439418"/>
            <a:ext cx="834040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700" dirty="0">
                <a:solidFill>
                  <a:schemeClr val="accent1"/>
                </a:solidFill>
              </a:defRPr>
            </a:lvl1pPr>
          </a:lstStyle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27" name="Slide Number Placeholder 12">
            <a:extLst>
              <a:ext uri="{FF2B5EF4-FFF2-40B4-BE49-F238E27FC236}">
                <a16:creationId xmlns:a16="http://schemas.microsoft.com/office/drawing/2014/main" id="{06C0561D-8918-4026-AE65-B8AF9843E1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392" y="644740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700" smtClean="0">
                <a:solidFill>
                  <a:schemeClr val="accent1"/>
                </a:solidFill>
              </a:defRPr>
            </a:lvl1pPr>
          </a:lstStyle>
          <a:p>
            <a:fld id="{300F8F77-4347-4BF0-A9D7-4E51985595A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2" name="Date Placeholder 9">
            <a:extLst>
              <a:ext uri="{FF2B5EF4-FFF2-40B4-BE49-F238E27FC236}">
                <a16:creationId xmlns:a16="http://schemas.microsoft.com/office/drawing/2014/main" id="{5B988067-C40B-443B-B326-7E1AC95D6A1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268587" y="6445820"/>
            <a:ext cx="107134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GB" sz="700" smtClean="0">
                <a:solidFill>
                  <a:schemeClr val="accent1"/>
                </a:solidFill>
              </a:defRPr>
            </a:lvl1pPr>
          </a:lstStyle>
          <a:p>
            <a:r>
              <a:rPr lang="en-US"/>
              <a:t>Rev. 1.0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26897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1" cy="6861600"/>
          </a:xfrm>
          <a:blipFill>
            <a:blip r:embed="rId3"/>
            <a:stretch>
              <a:fillRect/>
            </a:stretch>
          </a:blipFill>
        </p:spPr>
        <p:txBody>
          <a:bodyPr lIns="2916000" tIns="360000" rIns="144000"/>
          <a:lstStyle>
            <a:lvl1pPr marL="0" indent="0" algn="l">
              <a:buNone/>
              <a:defRPr sz="1600" b="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on picture frame to insert background picture, click on DNV-menu / Image Tools-button / Choose Insert or Past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539750"/>
            <a:ext cx="5018400" cy="936000"/>
          </a:xfrm>
        </p:spPr>
        <p:txBody>
          <a:bodyPr/>
          <a:lstStyle/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1A0EF5A-2CB8-465D-882A-DE0FE7C6D3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0000" y="1735085"/>
            <a:ext cx="5018400" cy="431651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76FE3FB9-ADAA-4278-97B4-7AE30B2DA0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631200" y="1735085"/>
            <a:ext cx="5018400" cy="430699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13" name="Text Placeholder 51">
            <a:extLst>
              <a:ext uri="{FF2B5EF4-FFF2-40B4-BE49-F238E27FC236}">
                <a16:creationId xmlns:a16="http://schemas.microsoft.com/office/drawing/2014/main" id="{D5351953-1134-42DD-AF00-B4B22DEFC1E8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10893600" y="6350400"/>
            <a:ext cx="756000" cy="322875"/>
          </a:xfrm>
          <a:custGeom>
            <a:avLst/>
            <a:gdLst>
              <a:gd name="connsiteX0" fmla="*/ 4835251 w 9270620"/>
              <a:gd name="connsiteY0" fmla="*/ 2948180 h 3959325"/>
              <a:gd name="connsiteX1" fmla="*/ 4835251 w 9270620"/>
              <a:gd name="connsiteY1" fmla="*/ 3779899 h 3959325"/>
              <a:gd name="connsiteX2" fmla="*/ 5282830 w 9270620"/>
              <a:gd name="connsiteY2" fmla="*/ 3779899 h 3959325"/>
              <a:gd name="connsiteX3" fmla="*/ 5590803 w 9270620"/>
              <a:gd name="connsiteY3" fmla="*/ 3686324 h 3959325"/>
              <a:gd name="connsiteX4" fmla="*/ 5693918 w 9270620"/>
              <a:gd name="connsiteY4" fmla="*/ 3399093 h 3959325"/>
              <a:gd name="connsiteX5" fmla="*/ 5693918 w 9270620"/>
              <a:gd name="connsiteY5" fmla="*/ 3329139 h 3959325"/>
              <a:gd name="connsiteX6" fmla="*/ 5590803 w 9270620"/>
              <a:gd name="connsiteY6" fmla="*/ 3039484 h 3959325"/>
              <a:gd name="connsiteX7" fmla="*/ 5282830 w 9270620"/>
              <a:gd name="connsiteY7" fmla="*/ 2948180 h 3959325"/>
              <a:gd name="connsiteX8" fmla="*/ 7923941 w 9270620"/>
              <a:gd name="connsiteY8" fmla="*/ 2768907 h 3959325"/>
              <a:gd name="connsiteX9" fmla="*/ 8147729 w 9270620"/>
              <a:gd name="connsiteY9" fmla="*/ 2768907 h 3959325"/>
              <a:gd name="connsiteX10" fmla="*/ 8603334 w 9270620"/>
              <a:gd name="connsiteY10" fmla="*/ 3699197 h 3959325"/>
              <a:gd name="connsiteX11" fmla="*/ 9058787 w 9270620"/>
              <a:gd name="connsiteY11" fmla="*/ 2768907 h 3959325"/>
              <a:gd name="connsiteX12" fmla="*/ 9269858 w 9270620"/>
              <a:gd name="connsiteY12" fmla="*/ 2768907 h 3959325"/>
              <a:gd name="connsiteX13" fmla="*/ 8674651 w 9270620"/>
              <a:gd name="connsiteY13" fmla="*/ 3959325 h 3959325"/>
              <a:gd name="connsiteX14" fmla="*/ 8520664 w 9270620"/>
              <a:gd name="connsiteY14" fmla="*/ 3959325 h 3959325"/>
              <a:gd name="connsiteX15" fmla="*/ 6265204 w 9270620"/>
              <a:gd name="connsiteY15" fmla="*/ 2768907 h 3959325"/>
              <a:gd name="connsiteX16" fmla="*/ 6349390 w 9270620"/>
              <a:gd name="connsiteY16" fmla="*/ 2768907 h 3959325"/>
              <a:gd name="connsiteX17" fmla="*/ 6458862 w 9270620"/>
              <a:gd name="connsiteY17" fmla="*/ 2768907 h 3959325"/>
              <a:gd name="connsiteX18" fmla="*/ 7379459 w 9270620"/>
              <a:gd name="connsiteY18" fmla="*/ 3699197 h 3959325"/>
              <a:gd name="connsiteX19" fmla="*/ 7379459 w 9270620"/>
              <a:gd name="connsiteY19" fmla="*/ 2768907 h 3959325"/>
              <a:gd name="connsiteX20" fmla="*/ 7574783 w 9270620"/>
              <a:gd name="connsiteY20" fmla="*/ 2768907 h 3959325"/>
              <a:gd name="connsiteX21" fmla="*/ 7574783 w 9270620"/>
              <a:gd name="connsiteY21" fmla="*/ 3959325 h 3959325"/>
              <a:gd name="connsiteX22" fmla="*/ 7379459 w 9270620"/>
              <a:gd name="connsiteY22" fmla="*/ 3959325 h 3959325"/>
              <a:gd name="connsiteX23" fmla="*/ 6458862 w 9270620"/>
              <a:gd name="connsiteY23" fmla="*/ 3030248 h 3959325"/>
              <a:gd name="connsiteX24" fmla="*/ 6458862 w 9270620"/>
              <a:gd name="connsiteY24" fmla="*/ 3959325 h 3959325"/>
              <a:gd name="connsiteX25" fmla="*/ 6265204 w 9270620"/>
              <a:gd name="connsiteY25" fmla="*/ 3959325 h 3959325"/>
              <a:gd name="connsiteX26" fmla="*/ 4636746 w 9270620"/>
              <a:gd name="connsiteY26" fmla="*/ 2768907 h 3959325"/>
              <a:gd name="connsiteX27" fmla="*/ 4725625 w 9270620"/>
              <a:gd name="connsiteY27" fmla="*/ 2768907 h 3959325"/>
              <a:gd name="connsiteX28" fmla="*/ 4835098 w 9270620"/>
              <a:gd name="connsiteY28" fmla="*/ 2768907 h 3959325"/>
              <a:gd name="connsiteX29" fmla="*/ 5281164 w 9270620"/>
              <a:gd name="connsiteY29" fmla="*/ 2768907 h 3959325"/>
              <a:gd name="connsiteX30" fmla="*/ 5606551 w 9270620"/>
              <a:gd name="connsiteY30" fmla="*/ 2830078 h 3959325"/>
              <a:gd name="connsiteX31" fmla="*/ 5816110 w 9270620"/>
              <a:gd name="connsiteY31" fmla="*/ 3014048 h 3959325"/>
              <a:gd name="connsiteX32" fmla="*/ 5889091 w 9270620"/>
              <a:gd name="connsiteY32" fmla="*/ 3322781 h 3959325"/>
              <a:gd name="connsiteX33" fmla="*/ 5889091 w 9270620"/>
              <a:gd name="connsiteY33" fmla="*/ 3405301 h 3959325"/>
              <a:gd name="connsiteX34" fmla="*/ 5816110 w 9270620"/>
              <a:gd name="connsiteY34" fmla="*/ 3714035 h 3959325"/>
              <a:gd name="connsiteX35" fmla="*/ 5606551 w 9270620"/>
              <a:gd name="connsiteY35" fmla="*/ 3898154 h 3959325"/>
              <a:gd name="connsiteX36" fmla="*/ 5281164 w 9270620"/>
              <a:gd name="connsiteY36" fmla="*/ 3959325 h 3959325"/>
              <a:gd name="connsiteX37" fmla="*/ 4835098 w 9270620"/>
              <a:gd name="connsiteY37" fmla="*/ 3959325 h 3959325"/>
              <a:gd name="connsiteX38" fmla="*/ 4725625 w 9270620"/>
              <a:gd name="connsiteY38" fmla="*/ 3959325 h 3959325"/>
              <a:gd name="connsiteX39" fmla="*/ 4636746 w 9270620"/>
              <a:gd name="connsiteY39" fmla="*/ 3959325 h 3959325"/>
              <a:gd name="connsiteX40" fmla="*/ 0 w 9270620"/>
              <a:gd name="connsiteY40" fmla="*/ 1844070 h 3959325"/>
              <a:gd name="connsiteX41" fmla="*/ 9270620 w 9270620"/>
              <a:gd name="connsiteY41" fmla="*/ 1844070 h 3959325"/>
              <a:gd name="connsiteX42" fmla="*/ 9270620 w 9270620"/>
              <a:gd name="connsiteY42" fmla="*/ 2212762 h 3959325"/>
              <a:gd name="connsiteX43" fmla="*/ 0 w 9270620"/>
              <a:gd name="connsiteY43" fmla="*/ 2212762 h 3959325"/>
              <a:gd name="connsiteX44" fmla="*/ 0 w 9270620"/>
              <a:gd name="connsiteY44" fmla="*/ 1475528 h 3959325"/>
              <a:gd name="connsiteX45" fmla="*/ 9270620 w 9270620"/>
              <a:gd name="connsiteY45" fmla="*/ 1475528 h 3959325"/>
              <a:gd name="connsiteX46" fmla="*/ 9270620 w 9270620"/>
              <a:gd name="connsiteY46" fmla="*/ 1660101 h 3959325"/>
              <a:gd name="connsiteX47" fmla="*/ 0 w 9270620"/>
              <a:gd name="connsiteY47" fmla="*/ 1660101 h 3959325"/>
              <a:gd name="connsiteX48" fmla="*/ 0 w 9270620"/>
              <a:gd name="connsiteY48" fmla="*/ 0 h 3959325"/>
              <a:gd name="connsiteX49" fmla="*/ 9270620 w 9270620"/>
              <a:gd name="connsiteY49" fmla="*/ 0 h 3959325"/>
              <a:gd name="connsiteX50" fmla="*/ 9270620 w 9270620"/>
              <a:gd name="connsiteY50" fmla="*/ 1106839 h 3959325"/>
              <a:gd name="connsiteX51" fmla="*/ 0 w 9270620"/>
              <a:gd name="connsiteY51" fmla="*/ 1106839 h 3959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9270620" h="3959325">
                <a:moveTo>
                  <a:pt x="4835251" y="2948180"/>
                </a:moveTo>
                <a:lnTo>
                  <a:pt x="4835251" y="3779899"/>
                </a:lnTo>
                <a:lnTo>
                  <a:pt x="5282830" y="3779899"/>
                </a:lnTo>
                <a:cubicBezTo>
                  <a:pt x="5419404" y="3779899"/>
                  <a:pt x="5522065" y="3748707"/>
                  <a:pt x="5590803" y="3686324"/>
                </a:cubicBezTo>
                <a:cubicBezTo>
                  <a:pt x="5659548" y="3623943"/>
                  <a:pt x="5693918" y="3528250"/>
                  <a:pt x="5693918" y="3399093"/>
                </a:cubicBezTo>
                <a:lnTo>
                  <a:pt x="5693918" y="3329139"/>
                </a:lnTo>
                <a:cubicBezTo>
                  <a:pt x="5693918" y="3196955"/>
                  <a:pt x="5659548" y="3100352"/>
                  <a:pt x="5590803" y="3039484"/>
                </a:cubicBezTo>
                <a:cubicBezTo>
                  <a:pt x="5521912" y="2978616"/>
                  <a:pt x="5419404" y="2948180"/>
                  <a:pt x="5282830" y="2948180"/>
                </a:cubicBezTo>
                <a:close/>
                <a:moveTo>
                  <a:pt x="7923941" y="2768907"/>
                </a:moveTo>
                <a:lnTo>
                  <a:pt x="8147729" y="2768907"/>
                </a:lnTo>
                <a:lnTo>
                  <a:pt x="8603334" y="3699197"/>
                </a:lnTo>
                <a:lnTo>
                  <a:pt x="9058787" y="2768907"/>
                </a:lnTo>
                <a:lnTo>
                  <a:pt x="9269858" y="2768907"/>
                </a:lnTo>
                <a:lnTo>
                  <a:pt x="8674651" y="3959325"/>
                </a:lnTo>
                <a:lnTo>
                  <a:pt x="8520664" y="3959325"/>
                </a:lnTo>
                <a:close/>
                <a:moveTo>
                  <a:pt x="6265204" y="2768907"/>
                </a:moveTo>
                <a:lnTo>
                  <a:pt x="6349390" y="2768907"/>
                </a:lnTo>
                <a:lnTo>
                  <a:pt x="6458862" y="2768907"/>
                </a:lnTo>
                <a:lnTo>
                  <a:pt x="7379459" y="3699197"/>
                </a:lnTo>
                <a:lnTo>
                  <a:pt x="7379459" y="2768907"/>
                </a:lnTo>
                <a:lnTo>
                  <a:pt x="7574783" y="2768907"/>
                </a:lnTo>
                <a:lnTo>
                  <a:pt x="7574783" y="3959325"/>
                </a:lnTo>
                <a:lnTo>
                  <a:pt x="7379459" y="3959325"/>
                </a:lnTo>
                <a:lnTo>
                  <a:pt x="6458862" y="3030248"/>
                </a:lnTo>
                <a:lnTo>
                  <a:pt x="6458862" y="3959325"/>
                </a:lnTo>
                <a:lnTo>
                  <a:pt x="6265204" y="3959325"/>
                </a:lnTo>
                <a:close/>
                <a:moveTo>
                  <a:pt x="4636746" y="2768907"/>
                </a:moveTo>
                <a:lnTo>
                  <a:pt x="4725625" y="2768907"/>
                </a:lnTo>
                <a:lnTo>
                  <a:pt x="4835098" y="2768907"/>
                </a:lnTo>
                <a:lnTo>
                  <a:pt x="5281164" y="2768907"/>
                </a:lnTo>
                <a:cubicBezTo>
                  <a:pt x="5407140" y="2768907"/>
                  <a:pt x="5515553" y="2789347"/>
                  <a:pt x="5606551" y="2830078"/>
                </a:cubicBezTo>
                <a:cubicBezTo>
                  <a:pt x="5697551" y="2870809"/>
                  <a:pt x="5767352" y="2932130"/>
                  <a:pt x="5816110" y="3014048"/>
                </a:cubicBezTo>
                <a:cubicBezTo>
                  <a:pt x="5864711" y="3096112"/>
                  <a:pt x="5889091" y="3198923"/>
                  <a:pt x="5889091" y="3322781"/>
                </a:cubicBezTo>
                <a:lnTo>
                  <a:pt x="5889091" y="3405301"/>
                </a:lnTo>
                <a:cubicBezTo>
                  <a:pt x="5889091" y="3529156"/>
                  <a:pt x="5864711" y="3631967"/>
                  <a:pt x="5816110" y="3714035"/>
                </a:cubicBezTo>
                <a:cubicBezTo>
                  <a:pt x="5767352" y="3796099"/>
                  <a:pt x="5697551" y="3857423"/>
                  <a:pt x="5606551" y="3898154"/>
                </a:cubicBezTo>
                <a:cubicBezTo>
                  <a:pt x="5515553" y="3938885"/>
                  <a:pt x="5407140" y="3959325"/>
                  <a:pt x="5281164" y="3959325"/>
                </a:cubicBezTo>
                <a:lnTo>
                  <a:pt x="4835098" y="3959325"/>
                </a:lnTo>
                <a:lnTo>
                  <a:pt x="4725625" y="3959325"/>
                </a:lnTo>
                <a:lnTo>
                  <a:pt x="4636746" y="3959325"/>
                </a:lnTo>
                <a:close/>
                <a:moveTo>
                  <a:pt x="0" y="1844070"/>
                </a:moveTo>
                <a:lnTo>
                  <a:pt x="9270620" y="1844070"/>
                </a:lnTo>
                <a:lnTo>
                  <a:pt x="9270620" y="2212762"/>
                </a:lnTo>
                <a:lnTo>
                  <a:pt x="0" y="2212762"/>
                </a:lnTo>
                <a:close/>
                <a:moveTo>
                  <a:pt x="0" y="1475528"/>
                </a:moveTo>
                <a:lnTo>
                  <a:pt x="9270620" y="1475528"/>
                </a:lnTo>
                <a:lnTo>
                  <a:pt x="9270620" y="1660101"/>
                </a:lnTo>
                <a:lnTo>
                  <a:pt x="0" y="1660101"/>
                </a:lnTo>
                <a:close/>
                <a:moveTo>
                  <a:pt x="0" y="0"/>
                </a:moveTo>
                <a:lnTo>
                  <a:pt x="9270620" y="0"/>
                </a:lnTo>
                <a:lnTo>
                  <a:pt x="9270620" y="1106839"/>
                </a:lnTo>
                <a:lnTo>
                  <a:pt x="0" y="110683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sp>
        <p:nvSpPr>
          <p:cNvPr id="17" name="SD_FLD_Draft" hidden="1">
            <a:extLst>
              <a:ext uri="{FF2B5EF4-FFF2-40B4-BE49-F238E27FC236}">
                <a16:creationId xmlns:a16="http://schemas.microsoft.com/office/drawing/2014/main" id="{2B6066DB-A88B-4086-9C45-3E39F5CE6D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20" name="SD_FLD_Confidentiality">
            <a:extLst>
              <a:ext uri="{FF2B5EF4-FFF2-40B4-BE49-F238E27FC236}">
                <a16:creationId xmlns:a16="http://schemas.microsoft.com/office/drawing/2014/main" id="{055B6780-3A6A-4D5A-9826-05ABD83C2EB2}"/>
              </a:ext>
            </a:extLst>
          </p:cNvPr>
          <p:cNvSpPr/>
          <p:nvPr userDrawn="1"/>
        </p:nvSpPr>
        <p:spPr>
          <a:xfrm>
            <a:off x="7131600" y="6440400"/>
            <a:ext cx="2440800" cy="1512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GB" sz="700" b="0" kern="1200" cap="all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_SD_FLD_Copyright">
            <a:extLst>
              <a:ext uri="{FF2B5EF4-FFF2-40B4-BE49-F238E27FC236}">
                <a16:creationId xmlns:a16="http://schemas.microsoft.com/office/drawing/2014/main" id="{68B0EA7E-41F0-4DED-9B3D-D81180375062}"/>
              </a:ext>
            </a:extLst>
          </p:cNvPr>
          <p:cNvSpPr txBox="1"/>
          <p:nvPr userDrawn="1"/>
        </p:nvSpPr>
        <p:spPr>
          <a:xfrm>
            <a:off x="818923" y="6449138"/>
            <a:ext cx="27892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noProof="0" dirty="0">
                <a:solidFill>
                  <a:schemeClr val="accent1"/>
                </a:solidFill>
              </a:rPr>
              <a:t>DNV ©</a:t>
            </a:r>
          </a:p>
        </p:txBody>
      </p:sp>
      <p:sp>
        <p:nvSpPr>
          <p:cNvPr id="24" name="Footer Placeholder 11">
            <a:extLst>
              <a:ext uri="{FF2B5EF4-FFF2-40B4-BE49-F238E27FC236}">
                <a16:creationId xmlns:a16="http://schemas.microsoft.com/office/drawing/2014/main" id="{D14B80C9-A61F-4C96-85B7-E67BEAD822B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0596" y="6439417"/>
            <a:ext cx="3187804" cy="2338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700" dirty="0">
                <a:solidFill>
                  <a:schemeClr val="accent1"/>
                </a:solidFill>
              </a:defRPr>
            </a:lvl1pPr>
          </a:lstStyle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25" name="Slide Number Placeholder 12">
            <a:extLst>
              <a:ext uri="{FF2B5EF4-FFF2-40B4-BE49-F238E27FC236}">
                <a16:creationId xmlns:a16="http://schemas.microsoft.com/office/drawing/2014/main" id="{275451C1-149D-433D-9ACF-C8F8F5CFDA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392" y="644740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700" smtClean="0">
                <a:solidFill>
                  <a:schemeClr val="accent1"/>
                </a:solidFill>
              </a:defRPr>
            </a:lvl1pPr>
          </a:lstStyle>
          <a:p>
            <a:fld id="{300F8F77-4347-4BF0-A9D7-4E51985595A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Date Placeholder 9">
            <a:extLst>
              <a:ext uri="{FF2B5EF4-FFF2-40B4-BE49-F238E27FC236}">
                <a16:creationId xmlns:a16="http://schemas.microsoft.com/office/drawing/2014/main" id="{9D670947-68B4-4358-B2EA-FBF64CF5869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68587" y="6445820"/>
            <a:ext cx="107134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GB" sz="700" smtClean="0">
                <a:solidFill>
                  <a:schemeClr val="accent1"/>
                </a:solidFill>
              </a:defRPr>
            </a:lvl1pPr>
          </a:lstStyle>
          <a:p>
            <a:r>
              <a:rPr lang="en-US"/>
              <a:t>Rev. 1.0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18495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1" userDrawn="1">
          <p15:clr>
            <a:srgbClr val="F26B43"/>
          </p15:clr>
        </p15:guide>
        <p15:guide id="2" pos="4177" userDrawn="1">
          <p15:clr>
            <a:srgbClr val="F26B43"/>
          </p15:clr>
        </p15:guide>
        <p15:guide id="3" pos="3839" userDrawn="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0" cy="6861600"/>
          </a:xfrm>
          <a:blipFill>
            <a:blip r:embed="rId3"/>
            <a:stretch>
              <a:fillRect/>
            </a:stretch>
          </a:blipFill>
        </p:spPr>
        <p:txBody>
          <a:bodyPr lIns="2916000" tIns="360000" rIns="144000"/>
          <a:lstStyle>
            <a:lvl1pPr marL="0" indent="0" algn="l">
              <a:buNone/>
              <a:defRPr sz="1600" b="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on picture frame to insert background picture, click on DNV-menu / Image Tools-button / Choose Insert or Past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631200" y="539750"/>
            <a:ext cx="5018400" cy="936000"/>
          </a:xfrm>
        </p:spPr>
        <p:txBody>
          <a:bodyPr/>
          <a:lstStyle/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1A0EF5A-2CB8-465D-882A-DE0FE7C6D3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0000" y="1735085"/>
            <a:ext cx="5018400" cy="43165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76FE3FB9-ADAA-4278-97B4-7AE30B2DA0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631200" y="1735085"/>
            <a:ext cx="5018400" cy="430699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17" name="SD_FLD_Draft" hidden="1">
            <a:extLst>
              <a:ext uri="{FF2B5EF4-FFF2-40B4-BE49-F238E27FC236}">
                <a16:creationId xmlns:a16="http://schemas.microsoft.com/office/drawing/2014/main" id="{2B6066DB-A88B-4086-9C45-3E39F5CE6D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20" name="SD_FLD_Confidentiality">
            <a:extLst>
              <a:ext uri="{FF2B5EF4-FFF2-40B4-BE49-F238E27FC236}">
                <a16:creationId xmlns:a16="http://schemas.microsoft.com/office/drawing/2014/main" id="{055B6780-3A6A-4D5A-9826-05ABD83C2EB2}"/>
              </a:ext>
            </a:extLst>
          </p:cNvPr>
          <p:cNvSpPr/>
          <p:nvPr userDrawn="1"/>
        </p:nvSpPr>
        <p:spPr>
          <a:xfrm>
            <a:off x="7131600" y="6440400"/>
            <a:ext cx="2440800" cy="1512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GB" sz="700" b="0" kern="1200" cap="all" baseline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_SD_FLD_Copyright">
            <a:extLst>
              <a:ext uri="{FF2B5EF4-FFF2-40B4-BE49-F238E27FC236}">
                <a16:creationId xmlns:a16="http://schemas.microsoft.com/office/drawing/2014/main" id="{661E3C8F-5590-4813-8EA5-0F92DF296D71}"/>
              </a:ext>
            </a:extLst>
          </p:cNvPr>
          <p:cNvSpPr txBox="1"/>
          <p:nvPr userDrawn="1"/>
        </p:nvSpPr>
        <p:spPr>
          <a:xfrm>
            <a:off x="818923" y="6449138"/>
            <a:ext cx="27892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noProof="0" dirty="0">
                <a:solidFill>
                  <a:schemeClr val="accent1"/>
                </a:solidFill>
              </a:rPr>
              <a:t>DNV ©</a:t>
            </a:r>
          </a:p>
        </p:txBody>
      </p:sp>
      <p:sp>
        <p:nvSpPr>
          <p:cNvPr id="19" name="Footer Placeholder 11">
            <a:extLst>
              <a:ext uri="{FF2B5EF4-FFF2-40B4-BE49-F238E27FC236}">
                <a16:creationId xmlns:a16="http://schemas.microsoft.com/office/drawing/2014/main" id="{57E62644-8DA4-4C68-8003-61BE34A7CE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0596" y="6439418"/>
            <a:ext cx="834040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700" dirty="0">
                <a:solidFill>
                  <a:schemeClr val="accent1"/>
                </a:solidFill>
              </a:defRPr>
            </a:lvl1pPr>
          </a:lstStyle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21" name="Slide Number Placeholder 12">
            <a:extLst>
              <a:ext uri="{FF2B5EF4-FFF2-40B4-BE49-F238E27FC236}">
                <a16:creationId xmlns:a16="http://schemas.microsoft.com/office/drawing/2014/main" id="{D6DA97E5-391E-46B7-A150-166D39440D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392" y="644740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700" smtClean="0">
                <a:solidFill>
                  <a:schemeClr val="accent1"/>
                </a:solidFill>
              </a:defRPr>
            </a:lvl1pPr>
          </a:lstStyle>
          <a:p>
            <a:fld id="{300F8F77-4347-4BF0-A9D7-4E51985595A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4" name="Date Placeholder 9">
            <a:extLst>
              <a:ext uri="{FF2B5EF4-FFF2-40B4-BE49-F238E27FC236}">
                <a16:creationId xmlns:a16="http://schemas.microsoft.com/office/drawing/2014/main" id="{9CEA3723-37A9-4A5E-AA77-AC06A40A7A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68587" y="6445820"/>
            <a:ext cx="107134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GB" sz="700" smtClean="0">
                <a:solidFill>
                  <a:schemeClr val="accent1"/>
                </a:solidFill>
              </a:defRPr>
            </a:lvl1pPr>
          </a:lstStyle>
          <a:p>
            <a:r>
              <a:rPr lang="en-US"/>
              <a:t>Rev. 1.0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00116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1" userDrawn="1">
          <p15:clr>
            <a:srgbClr val="F26B43"/>
          </p15:clr>
        </p15:guide>
        <p15:guide id="2" pos="4177" userDrawn="1">
          <p15:clr>
            <a:srgbClr val="F26B43"/>
          </p15:clr>
        </p15:guide>
        <p15:guide id="3" pos="3840" userDrawn="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65632BCD-D585-42E8-A6D3-3C06DC3313BD}"/>
              </a:ext>
            </a:extLst>
          </p:cNvPr>
          <p:cNvSpPr/>
          <p:nvPr userDrawn="1"/>
        </p:nvSpPr>
        <p:spPr bwMode="white">
          <a:xfrm>
            <a:off x="0" y="0"/>
            <a:ext cx="12192000" cy="68550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7FEC56FF-AE50-4EFB-941E-E0B008ED656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922" r="24420" b="6742"/>
          <a:stretch>
            <a:fillRect/>
          </a:stretch>
        </p:blipFill>
        <p:spPr>
          <a:xfrm>
            <a:off x="3600000" y="0"/>
            <a:ext cx="8592000" cy="6858000"/>
          </a:xfrm>
          <a:custGeom>
            <a:avLst/>
            <a:gdLst>
              <a:gd name="connsiteX0" fmla="*/ 0 w 8592000"/>
              <a:gd name="connsiteY0" fmla="*/ 0 h 6858000"/>
              <a:gd name="connsiteX1" fmla="*/ 8592000 w 8592000"/>
              <a:gd name="connsiteY1" fmla="*/ 0 h 6858000"/>
              <a:gd name="connsiteX2" fmla="*/ 8592000 w 8592000"/>
              <a:gd name="connsiteY2" fmla="*/ 6858000 h 6858000"/>
              <a:gd name="connsiteX3" fmla="*/ 0 w 85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92000" h="6858000">
                <a:moveTo>
                  <a:pt x="0" y="0"/>
                </a:moveTo>
                <a:lnTo>
                  <a:pt x="8592000" y="0"/>
                </a:lnTo>
                <a:lnTo>
                  <a:pt x="85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grpSp>
        <p:nvGrpSpPr>
          <p:cNvPr id="27" name="Logo">
            <a:extLst>
              <a:ext uri="{FF2B5EF4-FFF2-40B4-BE49-F238E27FC236}">
                <a16:creationId xmlns:a16="http://schemas.microsoft.com/office/drawing/2014/main" id="{FEB7131A-3640-498A-8512-14CA3C3D2916}"/>
              </a:ext>
            </a:extLst>
          </p:cNvPr>
          <p:cNvGrpSpPr>
            <a:grpSpLocks noChangeAspect="1"/>
          </p:cNvGrpSpPr>
          <p:nvPr userDrawn="1"/>
        </p:nvGrpSpPr>
        <p:grpSpPr bwMode="white">
          <a:xfrm>
            <a:off x="539750" y="540000"/>
            <a:ext cx="1702800" cy="727238"/>
            <a:chOff x="6380216" y="4059273"/>
            <a:chExt cx="2905863" cy="1241045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63D26F1-547B-4B41-9723-EF0612B78E90}"/>
                </a:ext>
              </a:extLst>
            </p:cNvPr>
            <p:cNvSpPr/>
            <p:nvPr/>
          </p:nvSpPr>
          <p:spPr bwMode="white">
            <a:xfrm>
              <a:off x="6380216" y="4059273"/>
              <a:ext cx="2905863" cy="346936"/>
            </a:xfrm>
            <a:custGeom>
              <a:avLst/>
              <a:gdLst>
                <a:gd name="connsiteX0" fmla="*/ 0 w 2905863"/>
                <a:gd name="connsiteY0" fmla="*/ 0 h 346936"/>
                <a:gd name="connsiteX1" fmla="*/ 2905864 w 2905863"/>
                <a:gd name="connsiteY1" fmla="*/ 0 h 346936"/>
                <a:gd name="connsiteX2" fmla="*/ 2905864 w 2905863"/>
                <a:gd name="connsiteY2" fmla="*/ 346937 h 346936"/>
                <a:gd name="connsiteX3" fmla="*/ 0 w 2905863"/>
                <a:gd name="connsiteY3" fmla="*/ 346937 h 34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346936">
                  <a:moveTo>
                    <a:pt x="0" y="0"/>
                  </a:moveTo>
                  <a:lnTo>
                    <a:pt x="2905864" y="0"/>
                  </a:lnTo>
                  <a:lnTo>
                    <a:pt x="2905864" y="346937"/>
                  </a:lnTo>
                  <a:lnTo>
                    <a:pt x="0" y="346937"/>
                  </a:lnTo>
                  <a:close/>
                </a:path>
              </a:pathLst>
            </a:custGeom>
            <a:solidFill>
              <a:schemeClr val="bg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E6BEF58-2858-4FD7-B365-BD33C9B4ABBF}"/>
                </a:ext>
              </a:extLst>
            </p:cNvPr>
            <p:cNvSpPr/>
            <p:nvPr/>
          </p:nvSpPr>
          <p:spPr bwMode="white">
            <a:xfrm>
              <a:off x="6380216" y="4521775"/>
              <a:ext cx="2905863" cy="57854"/>
            </a:xfrm>
            <a:custGeom>
              <a:avLst/>
              <a:gdLst>
                <a:gd name="connsiteX0" fmla="*/ 0 w 2905863"/>
                <a:gd name="connsiteY0" fmla="*/ 0 h 57854"/>
                <a:gd name="connsiteX1" fmla="*/ 2905864 w 2905863"/>
                <a:gd name="connsiteY1" fmla="*/ 0 h 57854"/>
                <a:gd name="connsiteX2" fmla="*/ 2905864 w 2905863"/>
                <a:gd name="connsiteY2" fmla="*/ 57854 h 57854"/>
                <a:gd name="connsiteX3" fmla="*/ 0 w 2905863"/>
                <a:gd name="connsiteY3" fmla="*/ 57854 h 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57854">
                  <a:moveTo>
                    <a:pt x="0" y="0"/>
                  </a:moveTo>
                  <a:lnTo>
                    <a:pt x="2905864" y="0"/>
                  </a:lnTo>
                  <a:lnTo>
                    <a:pt x="2905864" y="57854"/>
                  </a:lnTo>
                  <a:lnTo>
                    <a:pt x="0" y="57854"/>
                  </a:lnTo>
                  <a:close/>
                </a:path>
              </a:pathLst>
            </a:custGeom>
            <a:solidFill>
              <a:schemeClr val="bg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ACB4FEF-3E65-4473-98FD-06637DF17B5A}"/>
                </a:ext>
              </a:extLst>
            </p:cNvPr>
            <p:cNvSpPr/>
            <p:nvPr/>
          </p:nvSpPr>
          <p:spPr bwMode="white">
            <a:xfrm>
              <a:off x="6380216" y="4637294"/>
              <a:ext cx="2905863" cy="115566"/>
            </a:xfrm>
            <a:custGeom>
              <a:avLst/>
              <a:gdLst>
                <a:gd name="connsiteX0" fmla="*/ 0 w 2905863"/>
                <a:gd name="connsiteY0" fmla="*/ 0 h 115566"/>
                <a:gd name="connsiteX1" fmla="*/ 2905864 w 2905863"/>
                <a:gd name="connsiteY1" fmla="*/ 0 h 115566"/>
                <a:gd name="connsiteX2" fmla="*/ 2905864 w 2905863"/>
                <a:gd name="connsiteY2" fmla="*/ 115566 h 115566"/>
                <a:gd name="connsiteX3" fmla="*/ 0 w 2905863"/>
                <a:gd name="connsiteY3" fmla="*/ 115566 h 115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115566">
                  <a:moveTo>
                    <a:pt x="0" y="0"/>
                  </a:moveTo>
                  <a:lnTo>
                    <a:pt x="2905864" y="0"/>
                  </a:lnTo>
                  <a:lnTo>
                    <a:pt x="2905864" y="115566"/>
                  </a:lnTo>
                  <a:lnTo>
                    <a:pt x="0" y="115566"/>
                  </a:lnTo>
                  <a:close/>
                </a:path>
              </a:pathLst>
            </a:custGeom>
            <a:solidFill>
              <a:schemeClr val="bg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854DF14B-8314-43CC-9550-32B284295E07}"/>
                </a:ext>
              </a:extLst>
            </p:cNvPr>
            <p:cNvSpPr/>
            <p:nvPr/>
          </p:nvSpPr>
          <p:spPr bwMode="white">
            <a:xfrm>
              <a:off x="7833598" y="4927183"/>
              <a:ext cx="392545" cy="373134"/>
            </a:xfrm>
            <a:custGeom>
              <a:avLst/>
              <a:gdLst>
                <a:gd name="connsiteX0" fmla="*/ 303984 w 392545"/>
                <a:gd name="connsiteY0" fmla="*/ 19174 h 373134"/>
                <a:gd name="connsiteX1" fmla="*/ 201992 w 392545"/>
                <a:gd name="connsiteY1" fmla="*/ 0 h 373134"/>
                <a:gd name="connsiteX2" fmla="*/ 62173 w 392545"/>
                <a:gd name="connsiteY2" fmla="*/ 0 h 373134"/>
                <a:gd name="connsiteX3" fmla="*/ 27859 w 392545"/>
                <a:gd name="connsiteY3" fmla="*/ 0 h 373134"/>
                <a:gd name="connsiteX4" fmla="*/ 0 w 392545"/>
                <a:gd name="connsiteY4" fmla="*/ 0 h 373134"/>
                <a:gd name="connsiteX5" fmla="*/ 0 w 392545"/>
                <a:gd name="connsiteY5" fmla="*/ 373135 h 373134"/>
                <a:gd name="connsiteX6" fmla="*/ 27859 w 392545"/>
                <a:gd name="connsiteY6" fmla="*/ 373135 h 373134"/>
                <a:gd name="connsiteX7" fmla="*/ 62173 w 392545"/>
                <a:gd name="connsiteY7" fmla="*/ 373135 h 373134"/>
                <a:gd name="connsiteX8" fmla="*/ 201992 w 392545"/>
                <a:gd name="connsiteY8" fmla="*/ 373135 h 373134"/>
                <a:gd name="connsiteX9" fmla="*/ 303984 w 392545"/>
                <a:gd name="connsiteY9" fmla="*/ 353961 h 373134"/>
                <a:gd name="connsiteX10" fmla="*/ 369670 w 392545"/>
                <a:gd name="connsiteY10" fmla="*/ 296249 h 373134"/>
                <a:gd name="connsiteX11" fmla="*/ 392546 w 392545"/>
                <a:gd name="connsiteY11" fmla="*/ 199477 h 373134"/>
                <a:gd name="connsiteX12" fmla="*/ 392546 w 392545"/>
                <a:gd name="connsiteY12" fmla="*/ 173611 h 373134"/>
                <a:gd name="connsiteX13" fmla="*/ 369670 w 392545"/>
                <a:gd name="connsiteY13" fmla="*/ 76839 h 373134"/>
                <a:gd name="connsiteX14" fmla="*/ 303984 w 392545"/>
                <a:gd name="connsiteY14" fmla="*/ 19174 h 373134"/>
                <a:gd name="connsiteX15" fmla="*/ 331369 w 392545"/>
                <a:gd name="connsiteY15" fmla="*/ 197531 h 373134"/>
                <a:gd name="connsiteX16" fmla="*/ 299048 w 392545"/>
                <a:gd name="connsiteY16" fmla="*/ 287563 h 373134"/>
                <a:gd name="connsiteX17" fmla="*/ 202514 w 392545"/>
                <a:gd name="connsiteY17" fmla="*/ 316894 h 373134"/>
                <a:gd name="connsiteX18" fmla="*/ 62221 w 392545"/>
                <a:gd name="connsiteY18" fmla="*/ 316894 h 373134"/>
                <a:gd name="connsiteX19" fmla="*/ 62221 w 392545"/>
                <a:gd name="connsiteY19" fmla="*/ 56193 h 373134"/>
                <a:gd name="connsiteX20" fmla="*/ 202514 w 392545"/>
                <a:gd name="connsiteY20" fmla="*/ 56193 h 373134"/>
                <a:gd name="connsiteX21" fmla="*/ 299048 w 392545"/>
                <a:gd name="connsiteY21" fmla="*/ 84812 h 373134"/>
                <a:gd name="connsiteX22" fmla="*/ 331369 w 392545"/>
                <a:gd name="connsiteY22" fmla="*/ 175604 h 373134"/>
                <a:gd name="connsiteX23" fmla="*/ 331369 w 392545"/>
                <a:gd name="connsiteY23" fmla="*/ 197531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2545" h="373134">
                  <a:moveTo>
                    <a:pt x="303984" y="19174"/>
                  </a:moveTo>
                  <a:cubicBezTo>
                    <a:pt x="275461" y="6407"/>
                    <a:pt x="241479" y="0"/>
                    <a:pt x="201992" y="0"/>
                  </a:cubicBezTo>
                  <a:lnTo>
                    <a:pt x="62173" y="0"/>
                  </a:lnTo>
                  <a:lnTo>
                    <a:pt x="27859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27859" y="373135"/>
                  </a:lnTo>
                  <a:lnTo>
                    <a:pt x="62173" y="373135"/>
                  </a:lnTo>
                  <a:lnTo>
                    <a:pt x="201992" y="373135"/>
                  </a:lnTo>
                  <a:cubicBezTo>
                    <a:pt x="241479" y="373135"/>
                    <a:pt x="275461" y="366728"/>
                    <a:pt x="303984" y="353961"/>
                  </a:cubicBezTo>
                  <a:cubicBezTo>
                    <a:pt x="332508" y="341194"/>
                    <a:pt x="354387" y="321972"/>
                    <a:pt x="369670" y="296249"/>
                  </a:cubicBezTo>
                  <a:cubicBezTo>
                    <a:pt x="384904" y="270525"/>
                    <a:pt x="392546" y="238299"/>
                    <a:pt x="392546" y="199477"/>
                  </a:cubicBezTo>
                  <a:lnTo>
                    <a:pt x="392546" y="173611"/>
                  </a:lnTo>
                  <a:cubicBezTo>
                    <a:pt x="392546" y="134788"/>
                    <a:pt x="384904" y="102562"/>
                    <a:pt x="369670" y="76839"/>
                  </a:cubicBezTo>
                  <a:cubicBezTo>
                    <a:pt x="354387" y="51162"/>
                    <a:pt x="332508" y="31941"/>
                    <a:pt x="303984" y="19174"/>
                  </a:cubicBezTo>
                  <a:close/>
                  <a:moveTo>
                    <a:pt x="331369" y="197531"/>
                  </a:moveTo>
                  <a:cubicBezTo>
                    <a:pt x="331369" y="238015"/>
                    <a:pt x="320596" y="268010"/>
                    <a:pt x="299048" y="287563"/>
                  </a:cubicBezTo>
                  <a:cubicBezTo>
                    <a:pt x="277502" y="307117"/>
                    <a:pt x="245323" y="316894"/>
                    <a:pt x="202514" y="316894"/>
                  </a:cubicBezTo>
                  <a:lnTo>
                    <a:pt x="62221" y="316894"/>
                  </a:lnTo>
                  <a:lnTo>
                    <a:pt x="62221" y="56193"/>
                  </a:lnTo>
                  <a:lnTo>
                    <a:pt x="202514" y="56193"/>
                  </a:lnTo>
                  <a:cubicBezTo>
                    <a:pt x="245323" y="56193"/>
                    <a:pt x="277454" y="65733"/>
                    <a:pt x="299048" y="84812"/>
                  </a:cubicBezTo>
                  <a:cubicBezTo>
                    <a:pt x="320596" y="103891"/>
                    <a:pt x="331369" y="134171"/>
                    <a:pt x="331369" y="175604"/>
                  </a:cubicBezTo>
                  <a:lnTo>
                    <a:pt x="331369" y="197531"/>
                  </a:lnTo>
                  <a:close/>
                </a:path>
              </a:pathLst>
            </a:custGeom>
            <a:solidFill>
              <a:schemeClr val="bg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0AAD1000-04BD-4E8C-88FE-2D68653EDFD9}"/>
                </a:ext>
              </a:extLst>
            </p:cNvPr>
            <p:cNvSpPr/>
            <p:nvPr/>
          </p:nvSpPr>
          <p:spPr bwMode="white">
            <a:xfrm>
              <a:off x="8344036" y="4927183"/>
              <a:ext cx="410485" cy="373134"/>
            </a:xfrm>
            <a:custGeom>
              <a:avLst/>
              <a:gdLst>
                <a:gd name="connsiteX0" fmla="*/ 349262 w 410485"/>
                <a:gd name="connsiteY0" fmla="*/ 291598 h 373134"/>
                <a:gd name="connsiteX1" fmla="*/ 60702 w 410485"/>
                <a:gd name="connsiteY1" fmla="*/ 0 h 373134"/>
                <a:gd name="connsiteX2" fmla="*/ 26388 w 410485"/>
                <a:gd name="connsiteY2" fmla="*/ 0 h 373134"/>
                <a:gd name="connsiteX3" fmla="*/ 0 w 410485"/>
                <a:gd name="connsiteY3" fmla="*/ 0 h 373134"/>
                <a:gd name="connsiteX4" fmla="*/ 0 w 410485"/>
                <a:gd name="connsiteY4" fmla="*/ 373135 h 373134"/>
                <a:gd name="connsiteX5" fmla="*/ 60702 w 410485"/>
                <a:gd name="connsiteY5" fmla="*/ 373135 h 373134"/>
                <a:gd name="connsiteX6" fmla="*/ 60702 w 410485"/>
                <a:gd name="connsiteY6" fmla="*/ 81917 h 373134"/>
                <a:gd name="connsiteX7" fmla="*/ 349262 w 410485"/>
                <a:gd name="connsiteY7" fmla="*/ 373135 h 373134"/>
                <a:gd name="connsiteX8" fmla="*/ 410486 w 410485"/>
                <a:gd name="connsiteY8" fmla="*/ 373135 h 373134"/>
                <a:gd name="connsiteX9" fmla="*/ 410486 w 410485"/>
                <a:gd name="connsiteY9" fmla="*/ 0 h 373134"/>
                <a:gd name="connsiteX10" fmla="*/ 349262 w 410485"/>
                <a:gd name="connsiteY10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485" h="373134">
                  <a:moveTo>
                    <a:pt x="349262" y="291598"/>
                  </a:moveTo>
                  <a:lnTo>
                    <a:pt x="60702" y="0"/>
                  </a:lnTo>
                  <a:lnTo>
                    <a:pt x="26388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60702" y="373135"/>
                  </a:lnTo>
                  <a:lnTo>
                    <a:pt x="60702" y="81917"/>
                  </a:lnTo>
                  <a:lnTo>
                    <a:pt x="349262" y="373135"/>
                  </a:lnTo>
                  <a:lnTo>
                    <a:pt x="410486" y="373135"/>
                  </a:lnTo>
                  <a:lnTo>
                    <a:pt x="410486" y="0"/>
                  </a:lnTo>
                  <a:lnTo>
                    <a:pt x="349262" y="0"/>
                  </a:lnTo>
                  <a:close/>
                </a:path>
              </a:pathLst>
            </a:custGeom>
            <a:solidFill>
              <a:schemeClr val="bg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E3E06DF-69BA-40E0-83B4-306829A187BB}"/>
                </a:ext>
              </a:extLst>
            </p:cNvPr>
            <p:cNvSpPr/>
            <p:nvPr/>
          </p:nvSpPr>
          <p:spPr bwMode="white">
            <a:xfrm>
              <a:off x="8863965" y="4927183"/>
              <a:ext cx="421876" cy="373134"/>
            </a:xfrm>
            <a:custGeom>
              <a:avLst/>
              <a:gdLst>
                <a:gd name="connsiteX0" fmla="*/ 355716 w 421876"/>
                <a:gd name="connsiteY0" fmla="*/ 0 h 373134"/>
                <a:gd name="connsiteX1" fmla="*/ 212955 w 421876"/>
                <a:gd name="connsiteY1" fmla="*/ 291598 h 373134"/>
                <a:gd name="connsiteX2" fmla="*/ 70146 w 421876"/>
                <a:gd name="connsiteY2" fmla="*/ 0 h 373134"/>
                <a:gd name="connsiteX3" fmla="*/ 0 w 421876"/>
                <a:gd name="connsiteY3" fmla="*/ 0 h 373134"/>
                <a:gd name="connsiteX4" fmla="*/ 187042 w 421876"/>
                <a:gd name="connsiteY4" fmla="*/ 373135 h 373134"/>
                <a:gd name="connsiteX5" fmla="*/ 235309 w 421876"/>
                <a:gd name="connsiteY5" fmla="*/ 373135 h 373134"/>
                <a:gd name="connsiteX6" fmla="*/ 421876 w 421876"/>
                <a:gd name="connsiteY6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876" h="373134">
                  <a:moveTo>
                    <a:pt x="355716" y="0"/>
                  </a:moveTo>
                  <a:lnTo>
                    <a:pt x="212955" y="291598"/>
                  </a:lnTo>
                  <a:lnTo>
                    <a:pt x="70146" y="0"/>
                  </a:lnTo>
                  <a:lnTo>
                    <a:pt x="0" y="0"/>
                  </a:lnTo>
                  <a:lnTo>
                    <a:pt x="187042" y="373135"/>
                  </a:lnTo>
                  <a:lnTo>
                    <a:pt x="235309" y="373135"/>
                  </a:lnTo>
                  <a:lnTo>
                    <a:pt x="421876" y="0"/>
                  </a:lnTo>
                  <a:close/>
                </a:path>
              </a:pathLst>
            </a:custGeom>
            <a:solidFill>
              <a:schemeClr val="bg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41" name="TAGLINE WHITE">
            <a:extLst>
              <a:ext uri="{FF2B5EF4-FFF2-40B4-BE49-F238E27FC236}">
                <a16:creationId xmlns:a16="http://schemas.microsoft.com/office/drawing/2014/main" id="{377104A8-79D3-4EC7-8FA7-FC40F808717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50400" y="539750"/>
            <a:ext cx="1702800" cy="1106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9751" y="1730375"/>
            <a:ext cx="8290798" cy="2985625"/>
          </a:xfrm>
        </p:spPr>
        <p:txBody>
          <a:bodyPr anchor="b" anchorCtr="0">
            <a:noAutofit/>
          </a:bodyPr>
          <a:lstStyle>
            <a:lvl1pPr>
              <a:lnSpc>
                <a:spcPct val="83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0000" y="4946400"/>
            <a:ext cx="8290798" cy="648072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ts val="0"/>
              </a:spcBef>
              <a:buNone/>
              <a:defRPr lang="en-US" sz="2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add sub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2D590D-63DF-49A5-B495-2B2E9EA7D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9748" y="5768975"/>
            <a:ext cx="8291049" cy="277813"/>
          </a:xfrm>
        </p:spPr>
        <p:txBody>
          <a:bodyPr anchor="b" anchorCtr="0"/>
          <a:lstStyle>
            <a:lvl1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2pPr>
            <a:lvl3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3pPr>
            <a:lvl4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4pPr>
            <a:lvl5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5pPr>
          </a:lstStyle>
          <a:p>
            <a:pPr lvl="0"/>
            <a:r>
              <a:rPr lang="en-GB"/>
              <a:t>Click to add name, title etc..</a:t>
            </a:r>
            <a:endParaRPr lang="en-GB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v. 1.0</a:t>
            </a:r>
            <a:endParaRPr lang="en-GB" dirty="0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>
                <a:noFill/>
              </a:rPr>
              <a:t>Maritime Cyber Security</a:t>
            </a:r>
            <a:endParaRPr lang="en-GB" dirty="0">
              <a:noFill/>
            </a:endParaRPr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sz="100" dirty="0"/>
          </a:p>
        </p:txBody>
      </p:sp>
      <p:sp>
        <p:nvSpPr>
          <p:cNvPr id="40" name="SD_FLD_DocumentDate">
            <a:extLst>
              <a:ext uri="{FF2B5EF4-FFF2-40B4-BE49-F238E27FC236}">
                <a16:creationId xmlns:a16="http://schemas.microsoft.com/office/drawing/2014/main" id="{1DB9ED39-CFDE-4196-AB07-F0AC0AB1579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40001" y="6161675"/>
            <a:ext cx="8290796" cy="181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l">
              <a:lnSpc>
                <a:spcPct val="83000"/>
              </a:lnSpc>
              <a:spcBef>
                <a:spcPts val="0"/>
              </a:spcBef>
            </a:pPr>
            <a:endParaRPr lang="en-GB" altLang="ja-JP" sz="1400" cap="none" baseline="0" dirty="0">
              <a:solidFill>
                <a:schemeClr val="bg1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9" name="_SD_FLD_DocumentNumber"/>
          <p:cNvSpPr txBox="1">
            <a:spLocks noChangeArrowheads="1"/>
          </p:cNvSpPr>
          <p:nvPr userDrawn="1"/>
        </p:nvSpPr>
        <p:spPr bwMode="auto">
          <a:xfrm>
            <a:off x="540001" y="6440400"/>
            <a:ext cx="1701550" cy="151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l">
              <a:spcBef>
                <a:spcPts val="0"/>
              </a:spcBef>
            </a:pPr>
            <a:endParaRPr lang="en-GB" altLang="ja-JP" sz="700" dirty="0">
              <a:solidFill>
                <a:schemeClr val="bg1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2" name="SD_FLD_Draft" hidden="1">
            <a:extLst>
              <a:ext uri="{FF2B5EF4-FFF2-40B4-BE49-F238E27FC236}">
                <a16:creationId xmlns:a16="http://schemas.microsoft.com/office/drawing/2014/main" id="{B540F12F-7F36-4021-A362-D466EDB9236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23" name="SD_FLD_Confidentiality">
            <a:extLst>
              <a:ext uri="{FF2B5EF4-FFF2-40B4-BE49-F238E27FC236}">
                <a16:creationId xmlns:a16="http://schemas.microsoft.com/office/drawing/2014/main" id="{3A818D00-8E4C-41C4-8292-4942AE5E1645}"/>
              </a:ext>
            </a:extLst>
          </p:cNvPr>
          <p:cNvSpPr/>
          <p:nvPr userDrawn="1"/>
        </p:nvSpPr>
        <p:spPr>
          <a:xfrm>
            <a:off x="7131600" y="6440400"/>
            <a:ext cx="2440800" cy="1512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GB" sz="700" b="0" kern="1200" cap="all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32055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tex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E5A94F9-752C-4C17-A881-9EC3D1BFC081}"/>
              </a:ext>
            </a:extLst>
          </p:cNvPr>
          <p:cNvSpPr/>
          <p:nvPr userDrawn="1"/>
        </p:nvSpPr>
        <p:spPr bwMode="ltGray">
          <a:xfrm>
            <a:off x="6096000" y="0"/>
            <a:ext cx="6100761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grpSp>
        <p:nvGrpSpPr>
          <p:cNvPr id="21" name="Logo">
            <a:extLst>
              <a:ext uri="{FF2B5EF4-FFF2-40B4-BE49-F238E27FC236}">
                <a16:creationId xmlns:a16="http://schemas.microsoft.com/office/drawing/2014/main" id="{26E38492-38DC-4F62-A1DB-9A97676C26A0}"/>
              </a:ext>
            </a:extLst>
          </p:cNvPr>
          <p:cNvGrpSpPr/>
          <p:nvPr userDrawn="1"/>
        </p:nvGrpSpPr>
        <p:grpSpPr>
          <a:xfrm>
            <a:off x="10893210" y="6350918"/>
            <a:ext cx="755843" cy="322808"/>
            <a:chOff x="6380216" y="4059273"/>
            <a:chExt cx="2905863" cy="1241045"/>
          </a:xfrm>
          <a:solidFill>
            <a:schemeClr val="bg1"/>
          </a:soli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B9EC2D85-7D36-4AED-AD50-B03C0C97ABBA}"/>
                </a:ext>
              </a:extLst>
            </p:cNvPr>
            <p:cNvSpPr/>
            <p:nvPr/>
          </p:nvSpPr>
          <p:spPr>
            <a:xfrm>
              <a:off x="6380216" y="4059273"/>
              <a:ext cx="2905863" cy="346936"/>
            </a:xfrm>
            <a:custGeom>
              <a:avLst/>
              <a:gdLst>
                <a:gd name="connsiteX0" fmla="*/ 0 w 2905863"/>
                <a:gd name="connsiteY0" fmla="*/ 0 h 346936"/>
                <a:gd name="connsiteX1" fmla="*/ 2905864 w 2905863"/>
                <a:gd name="connsiteY1" fmla="*/ 0 h 346936"/>
                <a:gd name="connsiteX2" fmla="*/ 2905864 w 2905863"/>
                <a:gd name="connsiteY2" fmla="*/ 346937 h 346936"/>
                <a:gd name="connsiteX3" fmla="*/ 0 w 2905863"/>
                <a:gd name="connsiteY3" fmla="*/ 346937 h 34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346936">
                  <a:moveTo>
                    <a:pt x="0" y="0"/>
                  </a:moveTo>
                  <a:lnTo>
                    <a:pt x="2905864" y="0"/>
                  </a:lnTo>
                  <a:lnTo>
                    <a:pt x="2905864" y="346937"/>
                  </a:lnTo>
                  <a:lnTo>
                    <a:pt x="0" y="346937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A2EAFAB-3C70-48F7-9D3F-051715B6123C}"/>
                </a:ext>
              </a:extLst>
            </p:cNvPr>
            <p:cNvSpPr/>
            <p:nvPr/>
          </p:nvSpPr>
          <p:spPr>
            <a:xfrm>
              <a:off x="6380216" y="4521775"/>
              <a:ext cx="2905863" cy="57854"/>
            </a:xfrm>
            <a:custGeom>
              <a:avLst/>
              <a:gdLst>
                <a:gd name="connsiteX0" fmla="*/ 0 w 2905863"/>
                <a:gd name="connsiteY0" fmla="*/ 0 h 57854"/>
                <a:gd name="connsiteX1" fmla="*/ 2905864 w 2905863"/>
                <a:gd name="connsiteY1" fmla="*/ 0 h 57854"/>
                <a:gd name="connsiteX2" fmla="*/ 2905864 w 2905863"/>
                <a:gd name="connsiteY2" fmla="*/ 57854 h 57854"/>
                <a:gd name="connsiteX3" fmla="*/ 0 w 2905863"/>
                <a:gd name="connsiteY3" fmla="*/ 57854 h 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57854">
                  <a:moveTo>
                    <a:pt x="0" y="0"/>
                  </a:moveTo>
                  <a:lnTo>
                    <a:pt x="2905864" y="0"/>
                  </a:lnTo>
                  <a:lnTo>
                    <a:pt x="2905864" y="57854"/>
                  </a:lnTo>
                  <a:lnTo>
                    <a:pt x="0" y="57854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D310211-76A4-4411-88BA-72405A8FD557}"/>
                </a:ext>
              </a:extLst>
            </p:cNvPr>
            <p:cNvSpPr/>
            <p:nvPr/>
          </p:nvSpPr>
          <p:spPr>
            <a:xfrm>
              <a:off x="6380216" y="4637294"/>
              <a:ext cx="2905863" cy="115566"/>
            </a:xfrm>
            <a:custGeom>
              <a:avLst/>
              <a:gdLst>
                <a:gd name="connsiteX0" fmla="*/ 0 w 2905863"/>
                <a:gd name="connsiteY0" fmla="*/ 0 h 115566"/>
                <a:gd name="connsiteX1" fmla="*/ 2905864 w 2905863"/>
                <a:gd name="connsiteY1" fmla="*/ 0 h 115566"/>
                <a:gd name="connsiteX2" fmla="*/ 2905864 w 2905863"/>
                <a:gd name="connsiteY2" fmla="*/ 115566 h 115566"/>
                <a:gd name="connsiteX3" fmla="*/ 0 w 2905863"/>
                <a:gd name="connsiteY3" fmla="*/ 115566 h 115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115566">
                  <a:moveTo>
                    <a:pt x="0" y="0"/>
                  </a:moveTo>
                  <a:lnTo>
                    <a:pt x="2905864" y="0"/>
                  </a:lnTo>
                  <a:lnTo>
                    <a:pt x="2905864" y="115566"/>
                  </a:lnTo>
                  <a:lnTo>
                    <a:pt x="0" y="115566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23CAD2A2-AFBE-49CC-AAB3-10D0B317330B}"/>
                </a:ext>
              </a:extLst>
            </p:cNvPr>
            <p:cNvSpPr/>
            <p:nvPr/>
          </p:nvSpPr>
          <p:spPr>
            <a:xfrm>
              <a:off x="7833598" y="4927183"/>
              <a:ext cx="392545" cy="373134"/>
            </a:xfrm>
            <a:custGeom>
              <a:avLst/>
              <a:gdLst>
                <a:gd name="connsiteX0" fmla="*/ 303984 w 392545"/>
                <a:gd name="connsiteY0" fmla="*/ 19174 h 373134"/>
                <a:gd name="connsiteX1" fmla="*/ 201992 w 392545"/>
                <a:gd name="connsiteY1" fmla="*/ 0 h 373134"/>
                <a:gd name="connsiteX2" fmla="*/ 62173 w 392545"/>
                <a:gd name="connsiteY2" fmla="*/ 0 h 373134"/>
                <a:gd name="connsiteX3" fmla="*/ 27859 w 392545"/>
                <a:gd name="connsiteY3" fmla="*/ 0 h 373134"/>
                <a:gd name="connsiteX4" fmla="*/ 0 w 392545"/>
                <a:gd name="connsiteY4" fmla="*/ 0 h 373134"/>
                <a:gd name="connsiteX5" fmla="*/ 0 w 392545"/>
                <a:gd name="connsiteY5" fmla="*/ 373135 h 373134"/>
                <a:gd name="connsiteX6" fmla="*/ 27859 w 392545"/>
                <a:gd name="connsiteY6" fmla="*/ 373135 h 373134"/>
                <a:gd name="connsiteX7" fmla="*/ 62173 w 392545"/>
                <a:gd name="connsiteY7" fmla="*/ 373135 h 373134"/>
                <a:gd name="connsiteX8" fmla="*/ 201992 w 392545"/>
                <a:gd name="connsiteY8" fmla="*/ 373135 h 373134"/>
                <a:gd name="connsiteX9" fmla="*/ 303984 w 392545"/>
                <a:gd name="connsiteY9" fmla="*/ 353961 h 373134"/>
                <a:gd name="connsiteX10" fmla="*/ 369670 w 392545"/>
                <a:gd name="connsiteY10" fmla="*/ 296249 h 373134"/>
                <a:gd name="connsiteX11" fmla="*/ 392546 w 392545"/>
                <a:gd name="connsiteY11" fmla="*/ 199477 h 373134"/>
                <a:gd name="connsiteX12" fmla="*/ 392546 w 392545"/>
                <a:gd name="connsiteY12" fmla="*/ 173611 h 373134"/>
                <a:gd name="connsiteX13" fmla="*/ 369670 w 392545"/>
                <a:gd name="connsiteY13" fmla="*/ 76839 h 373134"/>
                <a:gd name="connsiteX14" fmla="*/ 303984 w 392545"/>
                <a:gd name="connsiteY14" fmla="*/ 19174 h 373134"/>
                <a:gd name="connsiteX15" fmla="*/ 331369 w 392545"/>
                <a:gd name="connsiteY15" fmla="*/ 197531 h 373134"/>
                <a:gd name="connsiteX16" fmla="*/ 299048 w 392545"/>
                <a:gd name="connsiteY16" fmla="*/ 287563 h 373134"/>
                <a:gd name="connsiteX17" fmla="*/ 202514 w 392545"/>
                <a:gd name="connsiteY17" fmla="*/ 316894 h 373134"/>
                <a:gd name="connsiteX18" fmla="*/ 62221 w 392545"/>
                <a:gd name="connsiteY18" fmla="*/ 316894 h 373134"/>
                <a:gd name="connsiteX19" fmla="*/ 62221 w 392545"/>
                <a:gd name="connsiteY19" fmla="*/ 56193 h 373134"/>
                <a:gd name="connsiteX20" fmla="*/ 202514 w 392545"/>
                <a:gd name="connsiteY20" fmla="*/ 56193 h 373134"/>
                <a:gd name="connsiteX21" fmla="*/ 299048 w 392545"/>
                <a:gd name="connsiteY21" fmla="*/ 84812 h 373134"/>
                <a:gd name="connsiteX22" fmla="*/ 331369 w 392545"/>
                <a:gd name="connsiteY22" fmla="*/ 175604 h 373134"/>
                <a:gd name="connsiteX23" fmla="*/ 331369 w 392545"/>
                <a:gd name="connsiteY23" fmla="*/ 197531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2545" h="373134">
                  <a:moveTo>
                    <a:pt x="303984" y="19174"/>
                  </a:moveTo>
                  <a:cubicBezTo>
                    <a:pt x="275461" y="6407"/>
                    <a:pt x="241479" y="0"/>
                    <a:pt x="201992" y="0"/>
                  </a:cubicBezTo>
                  <a:lnTo>
                    <a:pt x="62173" y="0"/>
                  </a:lnTo>
                  <a:lnTo>
                    <a:pt x="27859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27859" y="373135"/>
                  </a:lnTo>
                  <a:lnTo>
                    <a:pt x="62173" y="373135"/>
                  </a:lnTo>
                  <a:lnTo>
                    <a:pt x="201992" y="373135"/>
                  </a:lnTo>
                  <a:cubicBezTo>
                    <a:pt x="241479" y="373135"/>
                    <a:pt x="275461" y="366728"/>
                    <a:pt x="303984" y="353961"/>
                  </a:cubicBezTo>
                  <a:cubicBezTo>
                    <a:pt x="332508" y="341194"/>
                    <a:pt x="354387" y="321972"/>
                    <a:pt x="369670" y="296249"/>
                  </a:cubicBezTo>
                  <a:cubicBezTo>
                    <a:pt x="384904" y="270525"/>
                    <a:pt x="392546" y="238299"/>
                    <a:pt x="392546" y="199477"/>
                  </a:cubicBezTo>
                  <a:lnTo>
                    <a:pt x="392546" y="173611"/>
                  </a:lnTo>
                  <a:cubicBezTo>
                    <a:pt x="392546" y="134788"/>
                    <a:pt x="384904" y="102562"/>
                    <a:pt x="369670" y="76839"/>
                  </a:cubicBezTo>
                  <a:cubicBezTo>
                    <a:pt x="354387" y="51162"/>
                    <a:pt x="332508" y="31941"/>
                    <a:pt x="303984" y="19174"/>
                  </a:cubicBezTo>
                  <a:close/>
                  <a:moveTo>
                    <a:pt x="331369" y="197531"/>
                  </a:moveTo>
                  <a:cubicBezTo>
                    <a:pt x="331369" y="238015"/>
                    <a:pt x="320596" y="268010"/>
                    <a:pt x="299048" y="287563"/>
                  </a:cubicBezTo>
                  <a:cubicBezTo>
                    <a:pt x="277502" y="307117"/>
                    <a:pt x="245323" y="316894"/>
                    <a:pt x="202514" y="316894"/>
                  </a:cubicBezTo>
                  <a:lnTo>
                    <a:pt x="62221" y="316894"/>
                  </a:lnTo>
                  <a:lnTo>
                    <a:pt x="62221" y="56193"/>
                  </a:lnTo>
                  <a:lnTo>
                    <a:pt x="202514" y="56193"/>
                  </a:lnTo>
                  <a:cubicBezTo>
                    <a:pt x="245323" y="56193"/>
                    <a:pt x="277454" y="65733"/>
                    <a:pt x="299048" y="84812"/>
                  </a:cubicBezTo>
                  <a:cubicBezTo>
                    <a:pt x="320596" y="103891"/>
                    <a:pt x="331369" y="134171"/>
                    <a:pt x="331369" y="175604"/>
                  </a:cubicBezTo>
                  <a:lnTo>
                    <a:pt x="331369" y="197531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86E3357-ACD2-4FEB-A799-CCA900A77E5A}"/>
                </a:ext>
              </a:extLst>
            </p:cNvPr>
            <p:cNvSpPr/>
            <p:nvPr/>
          </p:nvSpPr>
          <p:spPr>
            <a:xfrm>
              <a:off x="8344036" y="4927183"/>
              <a:ext cx="410485" cy="373134"/>
            </a:xfrm>
            <a:custGeom>
              <a:avLst/>
              <a:gdLst>
                <a:gd name="connsiteX0" fmla="*/ 349262 w 410485"/>
                <a:gd name="connsiteY0" fmla="*/ 291598 h 373134"/>
                <a:gd name="connsiteX1" fmla="*/ 60702 w 410485"/>
                <a:gd name="connsiteY1" fmla="*/ 0 h 373134"/>
                <a:gd name="connsiteX2" fmla="*/ 26388 w 410485"/>
                <a:gd name="connsiteY2" fmla="*/ 0 h 373134"/>
                <a:gd name="connsiteX3" fmla="*/ 0 w 410485"/>
                <a:gd name="connsiteY3" fmla="*/ 0 h 373134"/>
                <a:gd name="connsiteX4" fmla="*/ 0 w 410485"/>
                <a:gd name="connsiteY4" fmla="*/ 373135 h 373134"/>
                <a:gd name="connsiteX5" fmla="*/ 60702 w 410485"/>
                <a:gd name="connsiteY5" fmla="*/ 373135 h 373134"/>
                <a:gd name="connsiteX6" fmla="*/ 60702 w 410485"/>
                <a:gd name="connsiteY6" fmla="*/ 81917 h 373134"/>
                <a:gd name="connsiteX7" fmla="*/ 349262 w 410485"/>
                <a:gd name="connsiteY7" fmla="*/ 373135 h 373134"/>
                <a:gd name="connsiteX8" fmla="*/ 410486 w 410485"/>
                <a:gd name="connsiteY8" fmla="*/ 373135 h 373134"/>
                <a:gd name="connsiteX9" fmla="*/ 410486 w 410485"/>
                <a:gd name="connsiteY9" fmla="*/ 0 h 373134"/>
                <a:gd name="connsiteX10" fmla="*/ 349262 w 410485"/>
                <a:gd name="connsiteY10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485" h="373134">
                  <a:moveTo>
                    <a:pt x="349262" y="291598"/>
                  </a:moveTo>
                  <a:lnTo>
                    <a:pt x="60702" y="0"/>
                  </a:lnTo>
                  <a:lnTo>
                    <a:pt x="26388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60702" y="373135"/>
                  </a:lnTo>
                  <a:lnTo>
                    <a:pt x="60702" y="81917"/>
                  </a:lnTo>
                  <a:lnTo>
                    <a:pt x="349262" y="373135"/>
                  </a:lnTo>
                  <a:lnTo>
                    <a:pt x="410486" y="373135"/>
                  </a:lnTo>
                  <a:lnTo>
                    <a:pt x="410486" y="0"/>
                  </a:lnTo>
                  <a:lnTo>
                    <a:pt x="349262" y="0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A32E6E2-28C5-4015-AD5C-7B36FECA67F8}"/>
                </a:ext>
              </a:extLst>
            </p:cNvPr>
            <p:cNvSpPr/>
            <p:nvPr/>
          </p:nvSpPr>
          <p:spPr>
            <a:xfrm>
              <a:off x="8863965" y="4927183"/>
              <a:ext cx="421876" cy="373134"/>
            </a:xfrm>
            <a:custGeom>
              <a:avLst/>
              <a:gdLst>
                <a:gd name="connsiteX0" fmla="*/ 355716 w 421876"/>
                <a:gd name="connsiteY0" fmla="*/ 0 h 373134"/>
                <a:gd name="connsiteX1" fmla="*/ 212955 w 421876"/>
                <a:gd name="connsiteY1" fmla="*/ 291598 h 373134"/>
                <a:gd name="connsiteX2" fmla="*/ 70146 w 421876"/>
                <a:gd name="connsiteY2" fmla="*/ 0 h 373134"/>
                <a:gd name="connsiteX3" fmla="*/ 0 w 421876"/>
                <a:gd name="connsiteY3" fmla="*/ 0 h 373134"/>
                <a:gd name="connsiteX4" fmla="*/ 187042 w 421876"/>
                <a:gd name="connsiteY4" fmla="*/ 373135 h 373134"/>
                <a:gd name="connsiteX5" fmla="*/ 235309 w 421876"/>
                <a:gd name="connsiteY5" fmla="*/ 373135 h 373134"/>
                <a:gd name="connsiteX6" fmla="*/ 421876 w 421876"/>
                <a:gd name="connsiteY6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876" h="373134">
                  <a:moveTo>
                    <a:pt x="355716" y="0"/>
                  </a:moveTo>
                  <a:lnTo>
                    <a:pt x="212955" y="291598"/>
                  </a:lnTo>
                  <a:lnTo>
                    <a:pt x="70146" y="0"/>
                  </a:lnTo>
                  <a:lnTo>
                    <a:pt x="0" y="0"/>
                  </a:lnTo>
                  <a:lnTo>
                    <a:pt x="187042" y="373135"/>
                  </a:lnTo>
                  <a:lnTo>
                    <a:pt x="235309" y="373135"/>
                  </a:lnTo>
                  <a:lnTo>
                    <a:pt x="421876" y="0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1" y="539750"/>
            <a:ext cx="50184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7FF2DD87-B8CA-45C0-BA1C-B49C8E2275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9998" y="1735085"/>
            <a:ext cx="5018400" cy="431170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EDAF23F1-B8C0-484A-B65F-256F780588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31200" y="539751"/>
            <a:ext cx="5018400" cy="936000"/>
          </a:xfrm>
        </p:spPr>
        <p:txBody>
          <a:bodyPr/>
          <a:lstStyle>
            <a:lvl1pPr marL="0" indent="0">
              <a:lnSpc>
                <a:spcPct val="83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bg1"/>
                </a:solidFill>
              </a:defRPr>
            </a:lvl2pPr>
            <a:lvl3pPr marL="0" indent="0">
              <a:lnSpc>
                <a:spcPct val="83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bg1"/>
                </a:solidFill>
              </a:defRPr>
            </a:lvl3pPr>
            <a:lvl4pPr marL="0" indent="0">
              <a:lnSpc>
                <a:spcPct val="83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bg1"/>
                </a:solidFill>
              </a:defRPr>
            </a:lvl4pPr>
            <a:lvl5pPr marL="0" indent="0">
              <a:lnSpc>
                <a:spcPct val="83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bg1"/>
                </a:solidFill>
              </a:defRPr>
            </a:lvl5pPr>
            <a:lvl6pPr marL="0" indent="0">
              <a:lnSpc>
                <a:spcPct val="83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bg1"/>
                </a:solidFill>
              </a:defRPr>
            </a:lvl6pPr>
            <a:lvl7pPr marL="0" indent="0">
              <a:lnSpc>
                <a:spcPct val="83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bg1"/>
                </a:solidFill>
              </a:defRPr>
            </a:lvl7pPr>
            <a:lvl8pPr marL="0" indent="0">
              <a:lnSpc>
                <a:spcPct val="83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bg1"/>
                </a:solidFill>
              </a:defRPr>
            </a:lvl8pPr>
            <a:lvl9pPr marL="0" indent="0">
              <a:lnSpc>
                <a:spcPct val="83000"/>
              </a:lnSpc>
              <a:buFontTx/>
              <a:buNone/>
              <a:defRPr sz="3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title</a:t>
            </a:r>
          </a:p>
          <a:p>
            <a:pPr lvl="1"/>
            <a:endParaRPr lang="en-GB" dirty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12B098D5-A529-4245-95A8-157EA2D18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631200" y="1735085"/>
            <a:ext cx="5018400" cy="430699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28" name="SD_FLD_Draft" hidden="1">
            <a:extLst>
              <a:ext uri="{FF2B5EF4-FFF2-40B4-BE49-F238E27FC236}">
                <a16:creationId xmlns:a16="http://schemas.microsoft.com/office/drawing/2014/main" id="{5DD1835E-D50E-44DD-A77D-BAA84197440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29" name="SD_FLD_Confidentiality">
            <a:extLst>
              <a:ext uri="{FF2B5EF4-FFF2-40B4-BE49-F238E27FC236}">
                <a16:creationId xmlns:a16="http://schemas.microsoft.com/office/drawing/2014/main" id="{D8504C57-0921-4562-9BB3-9AB2F26367D5}"/>
              </a:ext>
            </a:extLst>
          </p:cNvPr>
          <p:cNvSpPr/>
          <p:nvPr userDrawn="1"/>
        </p:nvSpPr>
        <p:spPr>
          <a:xfrm>
            <a:off x="7131600" y="6440400"/>
            <a:ext cx="2440800" cy="1512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GB" sz="700" b="0" kern="1200" cap="all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0" name="_SD_FLD_Copyright">
            <a:extLst>
              <a:ext uri="{FF2B5EF4-FFF2-40B4-BE49-F238E27FC236}">
                <a16:creationId xmlns:a16="http://schemas.microsoft.com/office/drawing/2014/main" id="{68711D86-B8B7-4276-B6B6-EE75DD9B74F9}"/>
              </a:ext>
            </a:extLst>
          </p:cNvPr>
          <p:cNvSpPr txBox="1"/>
          <p:nvPr userDrawn="1"/>
        </p:nvSpPr>
        <p:spPr>
          <a:xfrm>
            <a:off x="818923" y="6449138"/>
            <a:ext cx="27892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noProof="0" dirty="0">
                <a:solidFill>
                  <a:schemeClr val="accent1"/>
                </a:solidFill>
              </a:rPr>
              <a:t>DNV ©</a:t>
            </a:r>
          </a:p>
        </p:txBody>
      </p:sp>
      <p:sp>
        <p:nvSpPr>
          <p:cNvPr id="32" name="Footer Placeholder 11">
            <a:extLst>
              <a:ext uri="{FF2B5EF4-FFF2-40B4-BE49-F238E27FC236}">
                <a16:creationId xmlns:a16="http://schemas.microsoft.com/office/drawing/2014/main" id="{1C3BD87B-079D-4F61-A593-F1419087AF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0596" y="6439418"/>
            <a:ext cx="834040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700" dirty="0">
                <a:solidFill>
                  <a:schemeClr val="accent1"/>
                </a:solidFill>
              </a:defRPr>
            </a:lvl1pPr>
          </a:lstStyle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33" name="Slide Number Placeholder 12">
            <a:extLst>
              <a:ext uri="{FF2B5EF4-FFF2-40B4-BE49-F238E27FC236}">
                <a16:creationId xmlns:a16="http://schemas.microsoft.com/office/drawing/2014/main" id="{9C1A4B55-9EFB-495C-B689-B95CAD38EF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392" y="644740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700" smtClean="0">
                <a:solidFill>
                  <a:schemeClr val="accent1"/>
                </a:solidFill>
              </a:defRPr>
            </a:lvl1pPr>
          </a:lstStyle>
          <a:p>
            <a:fld id="{300F8F77-4347-4BF0-A9D7-4E51985595AC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4" name="Date Placeholder 9">
            <a:extLst>
              <a:ext uri="{FF2B5EF4-FFF2-40B4-BE49-F238E27FC236}">
                <a16:creationId xmlns:a16="http://schemas.microsoft.com/office/drawing/2014/main" id="{450C58F8-190F-4B8F-86EA-77D4F04970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68587" y="6445820"/>
            <a:ext cx="107134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GB" sz="700" smtClean="0">
                <a:solidFill>
                  <a:schemeClr val="accent1"/>
                </a:solidFill>
              </a:defRPr>
            </a:lvl1pPr>
          </a:lstStyle>
          <a:p>
            <a:r>
              <a:rPr lang="en-US"/>
              <a:t>Rev. 1.0</a:t>
            </a:r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3615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1" userDrawn="1">
          <p15:clr>
            <a:srgbClr val="F26B43"/>
          </p15:clr>
        </p15:guide>
        <p15:guide id="2" pos="4177" userDrawn="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tex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E5A94F9-752C-4C17-A881-9EC3D1BFC081}"/>
              </a:ext>
            </a:extLst>
          </p:cNvPr>
          <p:cNvSpPr/>
          <p:nvPr userDrawn="1"/>
        </p:nvSpPr>
        <p:spPr bwMode="ltGray">
          <a:xfrm>
            <a:off x="0" y="0"/>
            <a:ext cx="6100761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1" y="539750"/>
            <a:ext cx="5018400" cy="93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7FF2DD87-B8CA-45C0-BA1C-B49C8E2275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6446" y="1735085"/>
            <a:ext cx="5018400" cy="43117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EDAF23F1-B8C0-484A-B65F-256F780588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31200" y="539751"/>
            <a:ext cx="5018400" cy="936000"/>
          </a:xfrm>
        </p:spPr>
        <p:txBody>
          <a:bodyPr/>
          <a:lstStyle>
            <a:lvl1pPr marL="0" indent="0">
              <a:lnSpc>
                <a:spcPct val="83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1pPr>
            <a:lvl2pPr marL="0" indent="0">
              <a:lnSpc>
                <a:spcPct val="83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1"/>
                </a:solidFill>
              </a:defRPr>
            </a:lvl2pPr>
            <a:lvl3pPr marL="0" indent="0">
              <a:lnSpc>
                <a:spcPct val="83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bg1"/>
                </a:solidFill>
              </a:defRPr>
            </a:lvl3pPr>
            <a:lvl4pPr marL="0" indent="0">
              <a:lnSpc>
                <a:spcPct val="83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bg1"/>
                </a:solidFill>
              </a:defRPr>
            </a:lvl4pPr>
            <a:lvl5pPr marL="0" indent="0">
              <a:lnSpc>
                <a:spcPct val="83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bg1"/>
                </a:solidFill>
              </a:defRPr>
            </a:lvl5pPr>
            <a:lvl6pPr marL="0" indent="0">
              <a:lnSpc>
                <a:spcPct val="83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bg1"/>
                </a:solidFill>
              </a:defRPr>
            </a:lvl6pPr>
            <a:lvl7pPr marL="0" indent="0">
              <a:lnSpc>
                <a:spcPct val="83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bg1"/>
                </a:solidFill>
              </a:defRPr>
            </a:lvl7pPr>
            <a:lvl8pPr marL="0" indent="0">
              <a:lnSpc>
                <a:spcPct val="83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bg1"/>
                </a:solidFill>
              </a:defRPr>
            </a:lvl8pPr>
            <a:lvl9pPr marL="0" indent="0">
              <a:lnSpc>
                <a:spcPct val="83000"/>
              </a:lnSpc>
              <a:buFontTx/>
              <a:buNone/>
              <a:defRPr sz="3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title</a:t>
            </a:r>
          </a:p>
          <a:p>
            <a:pPr lvl="1"/>
            <a:endParaRPr lang="en-GB" dirty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12B098D5-A529-4245-95A8-157EA2D1897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631200" y="1735085"/>
            <a:ext cx="5018400" cy="430699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28" name="SD_FLD_Draft" hidden="1">
            <a:extLst>
              <a:ext uri="{FF2B5EF4-FFF2-40B4-BE49-F238E27FC236}">
                <a16:creationId xmlns:a16="http://schemas.microsoft.com/office/drawing/2014/main" id="{5DD1835E-D50E-44DD-A77D-BAA84197440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29" name="SD_FLD_Confidentiality">
            <a:extLst>
              <a:ext uri="{FF2B5EF4-FFF2-40B4-BE49-F238E27FC236}">
                <a16:creationId xmlns:a16="http://schemas.microsoft.com/office/drawing/2014/main" id="{D8504C57-0921-4562-9BB3-9AB2F26367D5}"/>
              </a:ext>
            </a:extLst>
          </p:cNvPr>
          <p:cNvSpPr/>
          <p:nvPr userDrawn="1"/>
        </p:nvSpPr>
        <p:spPr>
          <a:xfrm>
            <a:off x="7131600" y="6440400"/>
            <a:ext cx="2440800" cy="1512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GB" sz="700" b="0" kern="1200" cap="all" baseline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30" name="Logo">
            <a:extLst>
              <a:ext uri="{FF2B5EF4-FFF2-40B4-BE49-F238E27FC236}">
                <a16:creationId xmlns:a16="http://schemas.microsoft.com/office/drawing/2014/main" id="{9797F799-9D4E-44C1-9C94-5D81A10E73BB}"/>
              </a:ext>
            </a:extLst>
          </p:cNvPr>
          <p:cNvGrpSpPr/>
          <p:nvPr userDrawn="1"/>
        </p:nvGrpSpPr>
        <p:grpSpPr>
          <a:xfrm>
            <a:off x="10893210" y="6350918"/>
            <a:ext cx="755843" cy="322808"/>
            <a:chOff x="6380216" y="4059273"/>
            <a:chExt cx="2905863" cy="1241045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95478A4-BD9D-4AF3-830D-D8C4ECC8BD67}"/>
                </a:ext>
              </a:extLst>
            </p:cNvPr>
            <p:cNvSpPr/>
            <p:nvPr/>
          </p:nvSpPr>
          <p:spPr>
            <a:xfrm>
              <a:off x="6380216" y="4059273"/>
              <a:ext cx="2905863" cy="346936"/>
            </a:xfrm>
            <a:custGeom>
              <a:avLst/>
              <a:gdLst>
                <a:gd name="connsiteX0" fmla="*/ 0 w 2905863"/>
                <a:gd name="connsiteY0" fmla="*/ 0 h 346936"/>
                <a:gd name="connsiteX1" fmla="*/ 2905864 w 2905863"/>
                <a:gd name="connsiteY1" fmla="*/ 0 h 346936"/>
                <a:gd name="connsiteX2" fmla="*/ 2905864 w 2905863"/>
                <a:gd name="connsiteY2" fmla="*/ 346937 h 346936"/>
                <a:gd name="connsiteX3" fmla="*/ 0 w 2905863"/>
                <a:gd name="connsiteY3" fmla="*/ 346937 h 34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346936">
                  <a:moveTo>
                    <a:pt x="0" y="0"/>
                  </a:moveTo>
                  <a:lnTo>
                    <a:pt x="2905864" y="0"/>
                  </a:lnTo>
                  <a:lnTo>
                    <a:pt x="2905864" y="346937"/>
                  </a:lnTo>
                  <a:lnTo>
                    <a:pt x="0" y="346937"/>
                  </a:lnTo>
                  <a:close/>
                </a:path>
              </a:pathLst>
            </a:custGeom>
            <a:solidFill>
              <a:srgbClr val="99D9F0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26D1A283-D484-41F6-8D7E-9FA95DDC6EEE}"/>
                </a:ext>
              </a:extLst>
            </p:cNvPr>
            <p:cNvSpPr/>
            <p:nvPr/>
          </p:nvSpPr>
          <p:spPr>
            <a:xfrm>
              <a:off x="6380216" y="4521775"/>
              <a:ext cx="2905863" cy="57854"/>
            </a:xfrm>
            <a:custGeom>
              <a:avLst/>
              <a:gdLst>
                <a:gd name="connsiteX0" fmla="*/ 0 w 2905863"/>
                <a:gd name="connsiteY0" fmla="*/ 0 h 57854"/>
                <a:gd name="connsiteX1" fmla="*/ 2905864 w 2905863"/>
                <a:gd name="connsiteY1" fmla="*/ 0 h 57854"/>
                <a:gd name="connsiteX2" fmla="*/ 2905864 w 2905863"/>
                <a:gd name="connsiteY2" fmla="*/ 57854 h 57854"/>
                <a:gd name="connsiteX3" fmla="*/ 0 w 2905863"/>
                <a:gd name="connsiteY3" fmla="*/ 57854 h 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57854">
                  <a:moveTo>
                    <a:pt x="0" y="0"/>
                  </a:moveTo>
                  <a:lnTo>
                    <a:pt x="2905864" y="0"/>
                  </a:lnTo>
                  <a:lnTo>
                    <a:pt x="2905864" y="57854"/>
                  </a:lnTo>
                  <a:lnTo>
                    <a:pt x="0" y="57854"/>
                  </a:lnTo>
                  <a:close/>
                </a:path>
              </a:pathLst>
            </a:custGeom>
            <a:solidFill>
              <a:srgbClr val="3F9C35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60C41DB-E2AE-48EB-9E60-96525D5D2BA1}"/>
                </a:ext>
              </a:extLst>
            </p:cNvPr>
            <p:cNvSpPr/>
            <p:nvPr/>
          </p:nvSpPr>
          <p:spPr>
            <a:xfrm>
              <a:off x="6380216" y="4637294"/>
              <a:ext cx="2905863" cy="115566"/>
            </a:xfrm>
            <a:custGeom>
              <a:avLst/>
              <a:gdLst>
                <a:gd name="connsiteX0" fmla="*/ 0 w 2905863"/>
                <a:gd name="connsiteY0" fmla="*/ 0 h 115566"/>
                <a:gd name="connsiteX1" fmla="*/ 2905864 w 2905863"/>
                <a:gd name="connsiteY1" fmla="*/ 0 h 115566"/>
                <a:gd name="connsiteX2" fmla="*/ 2905864 w 2905863"/>
                <a:gd name="connsiteY2" fmla="*/ 115566 h 115566"/>
                <a:gd name="connsiteX3" fmla="*/ 0 w 2905863"/>
                <a:gd name="connsiteY3" fmla="*/ 115566 h 115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115566">
                  <a:moveTo>
                    <a:pt x="0" y="0"/>
                  </a:moveTo>
                  <a:lnTo>
                    <a:pt x="2905864" y="0"/>
                  </a:lnTo>
                  <a:lnTo>
                    <a:pt x="2905864" y="115566"/>
                  </a:lnTo>
                  <a:lnTo>
                    <a:pt x="0" y="115566"/>
                  </a:lnTo>
                  <a:close/>
                </a:path>
              </a:pathLst>
            </a:custGeom>
            <a:solidFill>
              <a:srgbClr val="00359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27B6332-097C-4B17-BAF1-B2B881F421E7}"/>
                </a:ext>
              </a:extLst>
            </p:cNvPr>
            <p:cNvSpPr/>
            <p:nvPr/>
          </p:nvSpPr>
          <p:spPr>
            <a:xfrm>
              <a:off x="7833598" y="4927183"/>
              <a:ext cx="392545" cy="373134"/>
            </a:xfrm>
            <a:custGeom>
              <a:avLst/>
              <a:gdLst>
                <a:gd name="connsiteX0" fmla="*/ 303984 w 392545"/>
                <a:gd name="connsiteY0" fmla="*/ 19174 h 373134"/>
                <a:gd name="connsiteX1" fmla="*/ 201992 w 392545"/>
                <a:gd name="connsiteY1" fmla="*/ 0 h 373134"/>
                <a:gd name="connsiteX2" fmla="*/ 62173 w 392545"/>
                <a:gd name="connsiteY2" fmla="*/ 0 h 373134"/>
                <a:gd name="connsiteX3" fmla="*/ 27859 w 392545"/>
                <a:gd name="connsiteY3" fmla="*/ 0 h 373134"/>
                <a:gd name="connsiteX4" fmla="*/ 0 w 392545"/>
                <a:gd name="connsiteY4" fmla="*/ 0 h 373134"/>
                <a:gd name="connsiteX5" fmla="*/ 0 w 392545"/>
                <a:gd name="connsiteY5" fmla="*/ 373135 h 373134"/>
                <a:gd name="connsiteX6" fmla="*/ 27859 w 392545"/>
                <a:gd name="connsiteY6" fmla="*/ 373135 h 373134"/>
                <a:gd name="connsiteX7" fmla="*/ 62173 w 392545"/>
                <a:gd name="connsiteY7" fmla="*/ 373135 h 373134"/>
                <a:gd name="connsiteX8" fmla="*/ 201992 w 392545"/>
                <a:gd name="connsiteY8" fmla="*/ 373135 h 373134"/>
                <a:gd name="connsiteX9" fmla="*/ 303984 w 392545"/>
                <a:gd name="connsiteY9" fmla="*/ 353961 h 373134"/>
                <a:gd name="connsiteX10" fmla="*/ 369670 w 392545"/>
                <a:gd name="connsiteY10" fmla="*/ 296249 h 373134"/>
                <a:gd name="connsiteX11" fmla="*/ 392546 w 392545"/>
                <a:gd name="connsiteY11" fmla="*/ 199477 h 373134"/>
                <a:gd name="connsiteX12" fmla="*/ 392546 w 392545"/>
                <a:gd name="connsiteY12" fmla="*/ 173611 h 373134"/>
                <a:gd name="connsiteX13" fmla="*/ 369670 w 392545"/>
                <a:gd name="connsiteY13" fmla="*/ 76839 h 373134"/>
                <a:gd name="connsiteX14" fmla="*/ 303984 w 392545"/>
                <a:gd name="connsiteY14" fmla="*/ 19174 h 373134"/>
                <a:gd name="connsiteX15" fmla="*/ 331369 w 392545"/>
                <a:gd name="connsiteY15" fmla="*/ 197531 h 373134"/>
                <a:gd name="connsiteX16" fmla="*/ 299048 w 392545"/>
                <a:gd name="connsiteY16" fmla="*/ 287563 h 373134"/>
                <a:gd name="connsiteX17" fmla="*/ 202514 w 392545"/>
                <a:gd name="connsiteY17" fmla="*/ 316894 h 373134"/>
                <a:gd name="connsiteX18" fmla="*/ 62221 w 392545"/>
                <a:gd name="connsiteY18" fmla="*/ 316894 h 373134"/>
                <a:gd name="connsiteX19" fmla="*/ 62221 w 392545"/>
                <a:gd name="connsiteY19" fmla="*/ 56193 h 373134"/>
                <a:gd name="connsiteX20" fmla="*/ 202514 w 392545"/>
                <a:gd name="connsiteY20" fmla="*/ 56193 h 373134"/>
                <a:gd name="connsiteX21" fmla="*/ 299048 w 392545"/>
                <a:gd name="connsiteY21" fmla="*/ 84812 h 373134"/>
                <a:gd name="connsiteX22" fmla="*/ 331369 w 392545"/>
                <a:gd name="connsiteY22" fmla="*/ 175604 h 373134"/>
                <a:gd name="connsiteX23" fmla="*/ 331369 w 392545"/>
                <a:gd name="connsiteY23" fmla="*/ 197531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2545" h="373134">
                  <a:moveTo>
                    <a:pt x="303984" y="19174"/>
                  </a:moveTo>
                  <a:cubicBezTo>
                    <a:pt x="275461" y="6407"/>
                    <a:pt x="241479" y="0"/>
                    <a:pt x="201992" y="0"/>
                  </a:cubicBezTo>
                  <a:lnTo>
                    <a:pt x="62173" y="0"/>
                  </a:lnTo>
                  <a:lnTo>
                    <a:pt x="27859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27859" y="373135"/>
                  </a:lnTo>
                  <a:lnTo>
                    <a:pt x="62173" y="373135"/>
                  </a:lnTo>
                  <a:lnTo>
                    <a:pt x="201992" y="373135"/>
                  </a:lnTo>
                  <a:cubicBezTo>
                    <a:pt x="241479" y="373135"/>
                    <a:pt x="275461" y="366728"/>
                    <a:pt x="303984" y="353961"/>
                  </a:cubicBezTo>
                  <a:cubicBezTo>
                    <a:pt x="332508" y="341194"/>
                    <a:pt x="354387" y="321972"/>
                    <a:pt x="369670" y="296249"/>
                  </a:cubicBezTo>
                  <a:cubicBezTo>
                    <a:pt x="384904" y="270525"/>
                    <a:pt x="392546" y="238299"/>
                    <a:pt x="392546" y="199477"/>
                  </a:cubicBezTo>
                  <a:lnTo>
                    <a:pt x="392546" y="173611"/>
                  </a:lnTo>
                  <a:cubicBezTo>
                    <a:pt x="392546" y="134788"/>
                    <a:pt x="384904" y="102562"/>
                    <a:pt x="369670" y="76839"/>
                  </a:cubicBezTo>
                  <a:cubicBezTo>
                    <a:pt x="354387" y="51162"/>
                    <a:pt x="332508" y="31941"/>
                    <a:pt x="303984" y="19174"/>
                  </a:cubicBezTo>
                  <a:close/>
                  <a:moveTo>
                    <a:pt x="331369" y="197531"/>
                  </a:moveTo>
                  <a:cubicBezTo>
                    <a:pt x="331369" y="238015"/>
                    <a:pt x="320596" y="268010"/>
                    <a:pt x="299048" y="287563"/>
                  </a:cubicBezTo>
                  <a:cubicBezTo>
                    <a:pt x="277502" y="307117"/>
                    <a:pt x="245323" y="316894"/>
                    <a:pt x="202514" y="316894"/>
                  </a:cubicBezTo>
                  <a:lnTo>
                    <a:pt x="62221" y="316894"/>
                  </a:lnTo>
                  <a:lnTo>
                    <a:pt x="62221" y="56193"/>
                  </a:lnTo>
                  <a:lnTo>
                    <a:pt x="202514" y="56193"/>
                  </a:lnTo>
                  <a:cubicBezTo>
                    <a:pt x="245323" y="56193"/>
                    <a:pt x="277454" y="65733"/>
                    <a:pt x="299048" y="84812"/>
                  </a:cubicBezTo>
                  <a:cubicBezTo>
                    <a:pt x="320596" y="103891"/>
                    <a:pt x="331369" y="134171"/>
                    <a:pt x="331369" y="175604"/>
                  </a:cubicBezTo>
                  <a:lnTo>
                    <a:pt x="331369" y="197531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0AB1D607-7CB2-48A4-9112-F1F9E5B66AB3}"/>
                </a:ext>
              </a:extLst>
            </p:cNvPr>
            <p:cNvSpPr/>
            <p:nvPr/>
          </p:nvSpPr>
          <p:spPr>
            <a:xfrm>
              <a:off x="8344036" y="4927183"/>
              <a:ext cx="410485" cy="373134"/>
            </a:xfrm>
            <a:custGeom>
              <a:avLst/>
              <a:gdLst>
                <a:gd name="connsiteX0" fmla="*/ 349262 w 410485"/>
                <a:gd name="connsiteY0" fmla="*/ 291598 h 373134"/>
                <a:gd name="connsiteX1" fmla="*/ 60702 w 410485"/>
                <a:gd name="connsiteY1" fmla="*/ 0 h 373134"/>
                <a:gd name="connsiteX2" fmla="*/ 26388 w 410485"/>
                <a:gd name="connsiteY2" fmla="*/ 0 h 373134"/>
                <a:gd name="connsiteX3" fmla="*/ 0 w 410485"/>
                <a:gd name="connsiteY3" fmla="*/ 0 h 373134"/>
                <a:gd name="connsiteX4" fmla="*/ 0 w 410485"/>
                <a:gd name="connsiteY4" fmla="*/ 373135 h 373134"/>
                <a:gd name="connsiteX5" fmla="*/ 60702 w 410485"/>
                <a:gd name="connsiteY5" fmla="*/ 373135 h 373134"/>
                <a:gd name="connsiteX6" fmla="*/ 60702 w 410485"/>
                <a:gd name="connsiteY6" fmla="*/ 81917 h 373134"/>
                <a:gd name="connsiteX7" fmla="*/ 349262 w 410485"/>
                <a:gd name="connsiteY7" fmla="*/ 373135 h 373134"/>
                <a:gd name="connsiteX8" fmla="*/ 410486 w 410485"/>
                <a:gd name="connsiteY8" fmla="*/ 373135 h 373134"/>
                <a:gd name="connsiteX9" fmla="*/ 410486 w 410485"/>
                <a:gd name="connsiteY9" fmla="*/ 0 h 373134"/>
                <a:gd name="connsiteX10" fmla="*/ 349262 w 410485"/>
                <a:gd name="connsiteY10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485" h="373134">
                  <a:moveTo>
                    <a:pt x="349262" y="291598"/>
                  </a:moveTo>
                  <a:lnTo>
                    <a:pt x="60702" y="0"/>
                  </a:lnTo>
                  <a:lnTo>
                    <a:pt x="26388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60702" y="373135"/>
                  </a:lnTo>
                  <a:lnTo>
                    <a:pt x="60702" y="81917"/>
                  </a:lnTo>
                  <a:lnTo>
                    <a:pt x="349262" y="373135"/>
                  </a:lnTo>
                  <a:lnTo>
                    <a:pt x="410486" y="373135"/>
                  </a:lnTo>
                  <a:lnTo>
                    <a:pt x="410486" y="0"/>
                  </a:lnTo>
                  <a:lnTo>
                    <a:pt x="349262" y="0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D5111258-3B5D-4ADA-94B5-170A44D042C4}"/>
                </a:ext>
              </a:extLst>
            </p:cNvPr>
            <p:cNvSpPr/>
            <p:nvPr/>
          </p:nvSpPr>
          <p:spPr>
            <a:xfrm>
              <a:off x="8863965" y="4927183"/>
              <a:ext cx="421876" cy="373134"/>
            </a:xfrm>
            <a:custGeom>
              <a:avLst/>
              <a:gdLst>
                <a:gd name="connsiteX0" fmla="*/ 355716 w 421876"/>
                <a:gd name="connsiteY0" fmla="*/ 0 h 373134"/>
                <a:gd name="connsiteX1" fmla="*/ 212955 w 421876"/>
                <a:gd name="connsiteY1" fmla="*/ 291598 h 373134"/>
                <a:gd name="connsiteX2" fmla="*/ 70146 w 421876"/>
                <a:gd name="connsiteY2" fmla="*/ 0 h 373134"/>
                <a:gd name="connsiteX3" fmla="*/ 0 w 421876"/>
                <a:gd name="connsiteY3" fmla="*/ 0 h 373134"/>
                <a:gd name="connsiteX4" fmla="*/ 187042 w 421876"/>
                <a:gd name="connsiteY4" fmla="*/ 373135 h 373134"/>
                <a:gd name="connsiteX5" fmla="*/ 235309 w 421876"/>
                <a:gd name="connsiteY5" fmla="*/ 373135 h 373134"/>
                <a:gd name="connsiteX6" fmla="*/ 421876 w 421876"/>
                <a:gd name="connsiteY6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876" h="373134">
                  <a:moveTo>
                    <a:pt x="355716" y="0"/>
                  </a:moveTo>
                  <a:lnTo>
                    <a:pt x="212955" y="291598"/>
                  </a:lnTo>
                  <a:lnTo>
                    <a:pt x="70146" y="0"/>
                  </a:lnTo>
                  <a:lnTo>
                    <a:pt x="0" y="0"/>
                  </a:lnTo>
                  <a:lnTo>
                    <a:pt x="187042" y="373135"/>
                  </a:lnTo>
                  <a:lnTo>
                    <a:pt x="235309" y="373135"/>
                  </a:lnTo>
                  <a:lnTo>
                    <a:pt x="421876" y="0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21" name="_SD_FLD_Copyright">
            <a:extLst>
              <a:ext uri="{FF2B5EF4-FFF2-40B4-BE49-F238E27FC236}">
                <a16:creationId xmlns:a16="http://schemas.microsoft.com/office/drawing/2014/main" id="{90F1A3D6-5116-419E-995D-77A7794E81DF}"/>
              </a:ext>
            </a:extLst>
          </p:cNvPr>
          <p:cNvSpPr txBox="1"/>
          <p:nvPr userDrawn="1"/>
        </p:nvSpPr>
        <p:spPr>
          <a:xfrm>
            <a:off x="818923" y="6449138"/>
            <a:ext cx="27892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noProof="0" dirty="0">
                <a:solidFill>
                  <a:schemeClr val="bg1"/>
                </a:solidFill>
              </a:rPr>
              <a:t>DNV ©</a:t>
            </a:r>
          </a:p>
        </p:txBody>
      </p:sp>
      <p:sp>
        <p:nvSpPr>
          <p:cNvPr id="22" name="Date Placeholder 9">
            <a:extLst>
              <a:ext uri="{FF2B5EF4-FFF2-40B4-BE49-F238E27FC236}">
                <a16:creationId xmlns:a16="http://schemas.microsoft.com/office/drawing/2014/main" id="{8D75BD3F-7F9E-4B65-AA2A-D62F760AD4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68587" y="6445820"/>
            <a:ext cx="107134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US"/>
              <a:t>Rev. 1.0</a:t>
            </a:r>
            <a:endParaRPr lang="de-DE" dirty="0"/>
          </a:p>
        </p:txBody>
      </p:sp>
      <p:sp>
        <p:nvSpPr>
          <p:cNvPr id="23" name="Footer Placeholder 11">
            <a:extLst>
              <a:ext uri="{FF2B5EF4-FFF2-40B4-BE49-F238E27FC236}">
                <a16:creationId xmlns:a16="http://schemas.microsoft.com/office/drawing/2014/main" id="{A687DD19-7472-41C8-AEC0-2D8B6F0F83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0596" y="6439418"/>
            <a:ext cx="834040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700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24" name="Slide Number Placeholder 12">
            <a:extLst>
              <a:ext uri="{FF2B5EF4-FFF2-40B4-BE49-F238E27FC236}">
                <a16:creationId xmlns:a16="http://schemas.microsoft.com/office/drawing/2014/main" id="{CEC05124-7C75-47A0-8812-1BE649462B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392" y="644740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700" smtClean="0">
                <a:solidFill>
                  <a:schemeClr val="bg1"/>
                </a:solidFill>
              </a:defRPr>
            </a:lvl1pPr>
          </a:lstStyle>
          <a:p>
            <a:fld id="{300F8F77-4347-4BF0-A9D7-4E51985595AC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6175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01" userDrawn="1">
          <p15:clr>
            <a:srgbClr val="F26B43"/>
          </p15:clr>
        </p15:guide>
        <p15:guide id="2" pos="4177" userDrawn="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io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E5A94F9-752C-4C17-A881-9EC3D1BFC081}"/>
              </a:ext>
            </a:extLst>
          </p:cNvPr>
          <p:cNvSpPr/>
          <p:nvPr userDrawn="1"/>
        </p:nvSpPr>
        <p:spPr bwMode="ltGray">
          <a:xfrm>
            <a:off x="1" y="0"/>
            <a:ext cx="6096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grpSp>
        <p:nvGrpSpPr>
          <p:cNvPr id="28" name="Logo">
            <a:extLst>
              <a:ext uri="{FF2B5EF4-FFF2-40B4-BE49-F238E27FC236}">
                <a16:creationId xmlns:a16="http://schemas.microsoft.com/office/drawing/2014/main" id="{2A4DCA37-D5BC-45B5-969C-67CBA623350D}"/>
              </a:ext>
            </a:extLst>
          </p:cNvPr>
          <p:cNvGrpSpPr/>
          <p:nvPr userDrawn="1"/>
        </p:nvGrpSpPr>
        <p:grpSpPr>
          <a:xfrm>
            <a:off x="10893210" y="6350918"/>
            <a:ext cx="755843" cy="322808"/>
            <a:chOff x="6380216" y="4059273"/>
            <a:chExt cx="2905863" cy="1241045"/>
          </a:xfrm>
        </p:grpSpPr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CC60709-F769-498C-8576-9765B07F378C}"/>
                </a:ext>
              </a:extLst>
            </p:cNvPr>
            <p:cNvSpPr/>
            <p:nvPr/>
          </p:nvSpPr>
          <p:spPr>
            <a:xfrm>
              <a:off x="6380216" y="4059273"/>
              <a:ext cx="2905863" cy="346936"/>
            </a:xfrm>
            <a:custGeom>
              <a:avLst/>
              <a:gdLst>
                <a:gd name="connsiteX0" fmla="*/ 0 w 2905863"/>
                <a:gd name="connsiteY0" fmla="*/ 0 h 346936"/>
                <a:gd name="connsiteX1" fmla="*/ 2905864 w 2905863"/>
                <a:gd name="connsiteY1" fmla="*/ 0 h 346936"/>
                <a:gd name="connsiteX2" fmla="*/ 2905864 w 2905863"/>
                <a:gd name="connsiteY2" fmla="*/ 346937 h 346936"/>
                <a:gd name="connsiteX3" fmla="*/ 0 w 2905863"/>
                <a:gd name="connsiteY3" fmla="*/ 346937 h 34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346936">
                  <a:moveTo>
                    <a:pt x="0" y="0"/>
                  </a:moveTo>
                  <a:lnTo>
                    <a:pt x="2905864" y="0"/>
                  </a:lnTo>
                  <a:lnTo>
                    <a:pt x="2905864" y="346937"/>
                  </a:lnTo>
                  <a:lnTo>
                    <a:pt x="0" y="346937"/>
                  </a:lnTo>
                  <a:close/>
                </a:path>
              </a:pathLst>
            </a:custGeom>
            <a:solidFill>
              <a:srgbClr val="99D9F0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8FAFB28D-E363-4553-84FE-9D1E73CCA326}"/>
                </a:ext>
              </a:extLst>
            </p:cNvPr>
            <p:cNvSpPr/>
            <p:nvPr/>
          </p:nvSpPr>
          <p:spPr>
            <a:xfrm>
              <a:off x="6380216" y="4521775"/>
              <a:ext cx="2905863" cy="57854"/>
            </a:xfrm>
            <a:custGeom>
              <a:avLst/>
              <a:gdLst>
                <a:gd name="connsiteX0" fmla="*/ 0 w 2905863"/>
                <a:gd name="connsiteY0" fmla="*/ 0 h 57854"/>
                <a:gd name="connsiteX1" fmla="*/ 2905864 w 2905863"/>
                <a:gd name="connsiteY1" fmla="*/ 0 h 57854"/>
                <a:gd name="connsiteX2" fmla="*/ 2905864 w 2905863"/>
                <a:gd name="connsiteY2" fmla="*/ 57854 h 57854"/>
                <a:gd name="connsiteX3" fmla="*/ 0 w 2905863"/>
                <a:gd name="connsiteY3" fmla="*/ 57854 h 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57854">
                  <a:moveTo>
                    <a:pt x="0" y="0"/>
                  </a:moveTo>
                  <a:lnTo>
                    <a:pt x="2905864" y="0"/>
                  </a:lnTo>
                  <a:lnTo>
                    <a:pt x="2905864" y="57854"/>
                  </a:lnTo>
                  <a:lnTo>
                    <a:pt x="0" y="57854"/>
                  </a:lnTo>
                  <a:close/>
                </a:path>
              </a:pathLst>
            </a:custGeom>
            <a:solidFill>
              <a:srgbClr val="3F9C35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868CF8D9-4524-464E-96BB-446077DFCF9E}"/>
                </a:ext>
              </a:extLst>
            </p:cNvPr>
            <p:cNvSpPr/>
            <p:nvPr/>
          </p:nvSpPr>
          <p:spPr>
            <a:xfrm>
              <a:off x="6380216" y="4637294"/>
              <a:ext cx="2905863" cy="115566"/>
            </a:xfrm>
            <a:custGeom>
              <a:avLst/>
              <a:gdLst>
                <a:gd name="connsiteX0" fmla="*/ 0 w 2905863"/>
                <a:gd name="connsiteY0" fmla="*/ 0 h 115566"/>
                <a:gd name="connsiteX1" fmla="*/ 2905864 w 2905863"/>
                <a:gd name="connsiteY1" fmla="*/ 0 h 115566"/>
                <a:gd name="connsiteX2" fmla="*/ 2905864 w 2905863"/>
                <a:gd name="connsiteY2" fmla="*/ 115566 h 115566"/>
                <a:gd name="connsiteX3" fmla="*/ 0 w 2905863"/>
                <a:gd name="connsiteY3" fmla="*/ 115566 h 115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115566">
                  <a:moveTo>
                    <a:pt x="0" y="0"/>
                  </a:moveTo>
                  <a:lnTo>
                    <a:pt x="2905864" y="0"/>
                  </a:lnTo>
                  <a:lnTo>
                    <a:pt x="2905864" y="115566"/>
                  </a:lnTo>
                  <a:lnTo>
                    <a:pt x="0" y="115566"/>
                  </a:lnTo>
                  <a:close/>
                </a:path>
              </a:pathLst>
            </a:custGeom>
            <a:solidFill>
              <a:srgbClr val="00359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70695EC-0262-4050-8C36-B81EAE73A086}"/>
                </a:ext>
              </a:extLst>
            </p:cNvPr>
            <p:cNvSpPr/>
            <p:nvPr/>
          </p:nvSpPr>
          <p:spPr>
            <a:xfrm>
              <a:off x="7833598" y="4927183"/>
              <a:ext cx="392545" cy="373134"/>
            </a:xfrm>
            <a:custGeom>
              <a:avLst/>
              <a:gdLst>
                <a:gd name="connsiteX0" fmla="*/ 303984 w 392545"/>
                <a:gd name="connsiteY0" fmla="*/ 19174 h 373134"/>
                <a:gd name="connsiteX1" fmla="*/ 201992 w 392545"/>
                <a:gd name="connsiteY1" fmla="*/ 0 h 373134"/>
                <a:gd name="connsiteX2" fmla="*/ 62173 w 392545"/>
                <a:gd name="connsiteY2" fmla="*/ 0 h 373134"/>
                <a:gd name="connsiteX3" fmla="*/ 27859 w 392545"/>
                <a:gd name="connsiteY3" fmla="*/ 0 h 373134"/>
                <a:gd name="connsiteX4" fmla="*/ 0 w 392545"/>
                <a:gd name="connsiteY4" fmla="*/ 0 h 373134"/>
                <a:gd name="connsiteX5" fmla="*/ 0 w 392545"/>
                <a:gd name="connsiteY5" fmla="*/ 373135 h 373134"/>
                <a:gd name="connsiteX6" fmla="*/ 27859 w 392545"/>
                <a:gd name="connsiteY6" fmla="*/ 373135 h 373134"/>
                <a:gd name="connsiteX7" fmla="*/ 62173 w 392545"/>
                <a:gd name="connsiteY7" fmla="*/ 373135 h 373134"/>
                <a:gd name="connsiteX8" fmla="*/ 201992 w 392545"/>
                <a:gd name="connsiteY8" fmla="*/ 373135 h 373134"/>
                <a:gd name="connsiteX9" fmla="*/ 303984 w 392545"/>
                <a:gd name="connsiteY9" fmla="*/ 353961 h 373134"/>
                <a:gd name="connsiteX10" fmla="*/ 369670 w 392545"/>
                <a:gd name="connsiteY10" fmla="*/ 296249 h 373134"/>
                <a:gd name="connsiteX11" fmla="*/ 392546 w 392545"/>
                <a:gd name="connsiteY11" fmla="*/ 199477 h 373134"/>
                <a:gd name="connsiteX12" fmla="*/ 392546 w 392545"/>
                <a:gd name="connsiteY12" fmla="*/ 173611 h 373134"/>
                <a:gd name="connsiteX13" fmla="*/ 369670 w 392545"/>
                <a:gd name="connsiteY13" fmla="*/ 76839 h 373134"/>
                <a:gd name="connsiteX14" fmla="*/ 303984 w 392545"/>
                <a:gd name="connsiteY14" fmla="*/ 19174 h 373134"/>
                <a:gd name="connsiteX15" fmla="*/ 331369 w 392545"/>
                <a:gd name="connsiteY15" fmla="*/ 197531 h 373134"/>
                <a:gd name="connsiteX16" fmla="*/ 299048 w 392545"/>
                <a:gd name="connsiteY16" fmla="*/ 287563 h 373134"/>
                <a:gd name="connsiteX17" fmla="*/ 202514 w 392545"/>
                <a:gd name="connsiteY17" fmla="*/ 316894 h 373134"/>
                <a:gd name="connsiteX18" fmla="*/ 62221 w 392545"/>
                <a:gd name="connsiteY18" fmla="*/ 316894 h 373134"/>
                <a:gd name="connsiteX19" fmla="*/ 62221 w 392545"/>
                <a:gd name="connsiteY19" fmla="*/ 56193 h 373134"/>
                <a:gd name="connsiteX20" fmla="*/ 202514 w 392545"/>
                <a:gd name="connsiteY20" fmla="*/ 56193 h 373134"/>
                <a:gd name="connsiteX21" fmla="*/ 299048 w 392545"/>
                <a:gd name="connsiteY21" fmla="*/ 84812 h 373134"/>
                <a:gd name="connsiteX22" fmla="*/ 331369 w 392545"/>
                <a:gd name="connsiteY22" fmla="*/ 175604 h 373134"/>
                <a:gd name="connsiteX23" fmla="*/ 331369 w 392545"/>
                <a:gd name="connsiteY23" fmla="*/ 197531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2545" h="373134">
                  <a:moveTo>
                    <a:pt x="303984" y="19174"/>
                  </a:moveTo>
                  <a:cubicBezTo>
                    <a:pt x="275461" y="6407"/>
                    <a:pt x="241479" y="0"/>
                    <a:pt x="201992" y="0"/>
                  </a:cubicBezTo>
                  <a:lnTo>
                    <a:pt x="62173" y="0"/>
                  </a:lnTo>
                  <a:lnTo>
                    <a:pt x="27859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27859" y="373135"/>
                  </a:lnTo>
                  <a:lnTo>
                    <a:pt x="62173" y="373135"/>
                  </a:lnTo>
                  <a:lnTo>
                    <a:pt x="201992" y="373135"/>
                  </a:lnTo>
                  <a:cubicBezTo>
                    <a:pt x="241479" y="373135"/>
                    <a:pt x="275461" y="366728"/>
                    <a:pt x="303984" y="353961"/>
                  </a:cubicBezTo>
                  <a:cubicBezTo>
                    <a:pt x="332508" y="341194"/>
                    <a:pt x="354387" y="321972"/>
                    <a:pt x="369670" y="296249"/>
                  </a:cubicBezTo>
                  <a:cubicBezTo>
                    <a:pt x="384904" y="270525"/>
                    <a:pt x="392546" y="238299"/>
                    <a:pt x="392546" y="199477"/>
                  </a:cubicBezTo>
                  <a:lnTo>
                    <a:pt x="392546" y="173611"/>
                  </a:lnTo>
                  <a:cubicBezTo>
                    <a:pt x="392546" y="134788"/>
                    <a:pt x="384904" y="102562"/>
                    <a:pt x="369670" y="76839"/>
                  </a:cubicBezTo>
                  <a:cubicBezTo>
                    <a:pt x="354387" y="51162"/>
                    <a:pt x="332508" y="31941"/>
                    <a:pt x="303984" y="19174"/>
                  </a:cubicBezTo>
                  <a:close/>
                  <a:moveTo>
                    <a:pt x="331369" y="197531"/>
                  </a:moveTo>
                  <a:cubicBezTo>
                    <a:pt x="331369" y="238015"/>
                    <a:pt x="320596" y="268010"/>
                    <a:pt x="299048" y="287563"/>
                  </a:cubicBezTo>
                  <a:cubicBezTo>
                    <a:pt x="277502" y="307117"/>
                    <a:pt x="245323" y="316894"/>
                    <a:pt x="202514" y="316894"/>
                  </a:cubicBezTo>
                  <a:lnTo>
                    <a:pt x="62221" y="316894"/>
                  </a:lnTo>
                  <a:lnTo>
                    <a:pt x="62221" y="56193"/>
                  </a:lnTo>
                  <a:lnTo>
                    <a:pt x="202514" y="56193"/>
                  </a:lnTo>
                  <a:cubicBezTo>
                    <a:pt x="245323" y="56193"/>
                    <a:pt x="277454" y="65733"/>
                    <a:pt x="299048" y="84812"/>
                  </a:cubicBezTo>
                  <a:cubicBezTo>
                    <a:pt x="320596" y="103891"/>
                    <a:pt x="331369" y="134171"/>
                    <a:pt x="331369" y="175604"/>
                  </a:cubicBezTo>
                  <a:lnTo>
                    <a:pt x="331369" y="197531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BE55B35-BCD3-452D-ACF7-4C9EE830DAF9}"/>
                </a:ext>
              </a:extLst>
            </p:cNvPr>
            <p:cNvSpPr/>
            <p:nvPr/>
          </p:nvSpPr>
          <p:spPr>
            <a:xfrm>
              <a:off x="8344036" y="4927183"/>
              <a:ext cx="410485" cy="373134"/>
            </a:xfrm>
            <a:custGeom>
              <a:avLst/>
              <a:gdLst>
                <a:gd name="connsiteX0" fmla="*/ 349262 w 410485"/>
                <a:gd name="connsiteY0" fmla="*/ 291598 h 373134"/>
                <a:gd name="connsiteX1" fmla="*/ 60702 w 410485"/>
                <a:gd name="connsiteY1" fmla="*/ 0 h 373134"/>
                <a:gd name="connsiteX2" fmla="*/ 26388 w 410485"/>
                <a:gd name="connsiteY2" fmla="*/ 0 h 373134"/>
                <a:gd name="connsiteX3" fmla="*/ 0 w 410485"/>
                <a:gd name="connsiteY3" fmla="*/ 0 h 373134"/>
                <a:gd name="connsiteX4" fmla="*/ 0 w 410485"/>
                <a:gd name="connsiteY4" fmla="*/ 373135 h 373134"/>
                <a:gd name="connsiteX5" fmla="*/ 60702 w 410485"/>
                <a:gd name="connsiteY5" fmla="*/ 373135 h 373134"/>
                <a:gd name="connsiteX6" fmla="*/ 60702 w 410485"/>
                <a:gd name="connsiteY6" fmla="*/ 81917 h 373134"/>
                <a:gd name="connsiteX7" fmla="*/ 349262 w 410485"/>
                <a:gd name="connsiteY7" fmla="*/ 373135 h 373134"/>
                <a:gd name="connsiteX8" fmla="*/ 410486 w 410485"/>
                <a:gd name="connsiteY8" fmla="*/ 373135 h 373134"/>
                <a:gd name="connsiteX9" fmla="*/ 410486 w 410485"/>
                <a:gd name="connsiteY9" fmla="*/ 0 h 373134"/>
                <a:gd name="connsiteX10" fmla="*/ 349262 w 410485"/>
                <a:gd name="connsiteY10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485" h="373134">
                  <a:moveTo>
                    <a:pt x="349262" y="291598"/>
                  </a:moveTo>
                  <a:lnTo>
                    <a:pt x="60702" y="0"/>
                  </a:lnTo>
                  <a:lnTo>
                    <a:pt x="26388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60702" y="373135"/>
                  </a:lnTo>
                  <a:lnTo>
                    <a:pt x="60702" y="81917"/>
                  </a:lnTo>
                  <a:lnTo>
                    <a:pt x="349262" y="373135"/>
                  </a:lnTo>
                  <a:lnTo>
                    <a:pt x="410486" y="373135"/>
                  </a:lnTo>
                  <a:lnTo>
                    <a:pt x="410486" y="0"/>
                  </a:lnTo>
                  <a:lnTo>
                    <a:pt x="349262" y="0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A3507E5F-080B-4B43-8774-A56A2FC9A2FD}"/>
                </a:ext>
              </a:extLst>
            </p:cNvPr>
            <p:cNvSpPr/>
            <p:nvPr/>
          </p:nvSpPr>
          <p:spPr>
            <a:xfrm>
              <a:off x="8863965" y="4927183"/>
              <a:ext cx="421876" cy="373134"/>
            </a:xfrm>
            <a:custGeom>
              <a:avLst/>
              <a:gdLst>
                <a:gd name="connsiteX0" fmla="*/ 355716 w 421876"/>
                <a:gd name="connsiteY0" fmla="*/ 0 h 373134"/>
                <a:gd name="connsiteX1" fmla="*/ 212955 w 421876"/>
                <a:gd name="connsiteY1" fmla="*/ 291598 h 373134"/>
                <a:gd name="connsiteX2" fmla="*/ 70146 w 421876"/>
                <a:gd name="connsiteY2" fmla="*/ 0 h 373134"/>
                <a:gd name="connsiteX3" fmla="*/ 0 w 421876"/>
                <a:gd name="connsiteY3" fmla="*/ 0 h 373134"/>
                <a:gd name="connsiteX4" fmla="*/ 187042 w 421876"/>
                <a:gd name="connsiteY4" fmla="*/ 373135 h 373134"/>
                <a:gd name="connsiteX5" fmla="*/ 235309 w 421876"/>
                <a:gd name="connsiteY5" fmla="*/ 373135 h 373134"/>
                <a:gd name="connsiteX6" fmla="*/ 421876 w 421876"/>
                <a:gd name="connsiteY6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876" h="373134">
                  <a:moveTo>
                    <a:pt x="355716" y="0"/>
                  </a:moveTo>
                  <a:lnTo>
                    <a:pt x="212955" y="291598"/>
                  </a:lnTo>
                  <a:lnTo>
                    <a:pt x="70146" y="0"/>
                  </a:lnTo>
                  <a:lnTo>
                    <a:pt x="0" y="0"/>
                  </a:lnTo>
                  <a:lnTo>
                    <a:pt x="187042" y="373135"/>
                  </a:lnTo>
                  <a:lnTo>
                    <a:pt x="235309" y="373135"/>
                  </a:lnTo>
                  <a:lnTo>
                    <a:pt x="421876" y="0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7FF2DD87-B8CA-45C0-BA1C-B49C8E2275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0000" y="539750"/>
            <a:ext cx="5017838" cy="5507039"/>
          </a:xfrm>
        </p:spPr>
        <p:txBody>
          <a:bodyPr anchor="ctr" anchorCtr="0"/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6000">
                <a:solidFill>
                  <a:schemeClr val="bg1"/>
                </a:solidFill>
              </a:defRPr>
            </a:lvl1pPr>
            <a:lvl2pPr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EDAF23F1-B8C0-484A-B65F-256F780588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35999" y="539750"/>
            <a:ext cx="5019555" cy="5502327"/>
          </a:xfrm>
        </p:spPr>
        <p:txBody>
          <a:bodyPr anchor="ctr" anchorCtr="0"/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6000">
                <a:solidFill>
                  <a:schemeClr val="accent1"/>
                </a:solidFill>
              </a:defRPr>
            </a:lvl1pPr>
            <a:lvl2pPr marL="0" indent="0" algn="ctr">
              <a:buNone/>
              <a:defRPr>
                <a:solidFill>
                  <a:schemeClr val="accent1"/>
                </a:solidFill>
              </a:defRPr>
            </a:lvl2pPr>
            <a:lvl3pPr marL="0" indent="0" algn="ctr">
              <a:buNone/>
              <a:defRPr>
                <a:solidFill>
                  <a:schemeClr val="accent1"/>
                </a:solidFill>
              </a:defRPr>
            </a:lvl3pPr>
            <a:lvl4pPr marL="0" indent="0" algn="ctr">
              <a:buNone/>
              <a:defRPr>
                <a:solidFill>
                  <a:schemeClr val="accent1"/>
                </a:solidFill>
              </a:defRPr>
            </a:lvl4pPr>
            <a:lvl5pPr marL="0" indent="0" algn="ctr">
              <a:buNone/>
              <a:defRPr>
                <a:solidFill>
                  <a:schemeClr val="accent1"/>
                </a:solidFill>
              </a:defRPr>
            </a:lvl5pPr>
            <a:lvl6pPr marL="0" indent="0" algn="ctr">
              <a:buNone/>
              <a:defRPr>
                <a:solidFill>
                  <a:schemeClr val="accent1"/>
                </a:solidFill>
              </a:defRPr>
            </a:lvl6pPr>
            <a:lvl7pPr marL="0" indent="0" algn="ctr">
              <a:buNone/>
              <a:defRPr>
                <a:solidFill>
                  <a:schemeClr val="accent1"/>
                </a:solidFill>
              </a:defRPr>
            </a:lvl7pPr>
            <a:lvl8pPr marL="0" indent="0" algn="ctr">
              <a:buNone/>
              <a:defRPr>
                <a:solidFill>
                  <a:schemeClr val="accent1"/>
                </a:solidFill>
              </a:defRPr>
            </a:lvl8pPr>
            <a:lvl9pPr marL="0" indent="0" algn="ctr"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20" name="SD_FLD_Draft" hidden="1">
            <a:extLst>
              <a:ext uri="{FF2B5EF4-FFF2-40B4-BE49-F238E27FC236}">
                <a16:creationId xmlns:a16="http://schemas.microsoft.com/office/drawing/2014/main" id="{CBE67342-2E3A-472F-99DC-5A501BFB7EA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21" name="SD_FLD_Confidentiality">
            <a:extLst>
              <a:ext uri="{FF2B5EF4-FFF2-40B4-BE49-F238E27FC236}">
                <a16:creationId xmlns:a16="http://schemas.microsoft.com/office/drawing/2014/main" id="{ED9239D1-7B53-4A1A-9075-35947DE7366F}"/>
              </a:ext>
            </a:extLst>
          </p:cNvPr>
          <p:cNvSpPr/>
          <p:nvPr userDrawn="1"/>
        </p:nvSpPr>
        <p:spPr>
          <a:xfrm>
            <a:off x="7131600" y="6440400"/>
            <a:ext cx="2440800" cy="1512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GB" sz="700" b="0" kern="1200" cap="all" baseline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_SD_FLD_Copyright">
            <a:extLst>
              <a:ext uri="{FF2B5EF4-FFF2-40B4-BE49-F238E27FC236}">
                <a16:creationId xmlns:a16="http://schemas.microsoft.com/office/drawing/2014/main" id="{A092CD10-C786-4A9B-8401-D97479B4465F}"/>
              </a:ext>
            </a:extLst>
          </p:cNvPr>
          <p:cNvSpPr txBox="1"/>
          <p:nvPr userDrawn="1"/>
        </p:nvSpPr>
        <p:spPr>
          <a:xfrm>
            <a:off x="818923" y="6449138"/>
            <a:ext cx="27892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noProof="0" dirty="0">
                <a:solidFill>
                  <a:schemeClr val="bg1"/>
                </a:solidFill>
              </a:rPr>
              <a:t>DNV ©</a:t>
            </a:r>
          </a:p>
        </p:txBody>
      </p:sp>
      <p:sp>
        <p:nvSpPr>
          <p:cNvPr id="23" name="Date Placeholder 9">
            <a:extLst>
              <a:ext uri="{FF2B5EF4-FFF2-40B4-BE49-F238E27FC236}">
                <a16:creationId xmlns:a16="http://schemas.microsoft.com/office/drawing/2014/main" id="{6F7B2C6E-9985-481D-8E7E-F075C9175E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68587" y="6445820"/>
            <a:ext cx="107134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US"/>
              <a:t>Rev. 1.0</a:t>
            </a:r>
            <a:endParaRPr lang="de-DE" dirty="0"/>
          </a:p>
        </p:txBody>
      </p:sp>
      <p:sp>
        <p:nvSpPr>
          <p:cNvPr id="24" name="Footer Placeholder 11">
            <a:extLst>
              <a:ext uri="{FF2B5EF4-FFF2-40B4-BE49-F238E27FC236}">
                <a16:creationId xmlns:a16="http://schemas.microsoft.com/office/drawing/2014/main" id="{185DB4ED-3656-4CDF-AB00-AFDD4D52B5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0596" y="6439418"/>
            <a:ext cx="834040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700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25" name="Slide Number Placeholder 12">
            <a:extLst>
              <a:ext uri="{FF2B5EF4-FFF2-40B4-BE49-F238E27FC236}">
                <a16:creationId xmlns:a16="http://schemas.microsoft.com/office/drawing/2014/main" id="{F7012270-9B89-4723-AFAC-314265257A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392" y="644740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700" smtClean="0">
                <a:solidFill>
                  <a:schemeClr val="bg1"/>
                </a:solidFill>
              </a:defRPr>
            </a:lvl1pPr>
          </a:lstStyle>
          <a:p>
            <a:fld id="{300F8F77-4347-4BF0-A9D7-4E51985595AC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60691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77" userDrawn="1">
          <p15:clr>
            <a:srgbClr val="F26B43"/>
          </p15:clr>
        </p15:guide>
        <p15:guide id="2" pos="3501" userDrawn="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io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E5A94F9-752C-4C17-A881-9EC3D1BFC081}"/>
              </a:ext>
            </a:extLst>
          </p:cNvPr>
          <p:cNvSpPr/>
          <p:nvPr userDrawn="1"/>
        </p:nvSpPr>
        <p:spPr bwMode="ltGray">
          <a:xfrm>
            <a:off x="0" y="0"/>
            <a:ext cx="12191999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7FF2DD87-B8CA-45C0-BA1C-B49C8E2275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0000" y="539750"/>
            <a:ext cx="5019556" cy="5507039"/>
          </a:xfrm>
        </p:spPr>
        <p:txBody>
          <a:bodyPr anchor="ctr" anchorCtr="0"/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6000">
                <a:solidFill>
                  <a:schemeClr val="bg1"/>
                </a:solidFill>
              </a:defRPr>
            </a:lvl1pPr>
            <a:lvl2pPr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EDAF23F1-B8C0-484A-B65F-256F780588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32446" y="539750"/>
            <a:ext cx="5018217" cy="5502327"/>
          </a:xfrm>
        </p:spPr>
        <p:txBody>
          <a:bodyPr anchor="ctr" anchorCtr="0"/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6000">
                <a:solidFill>
                  <a:schemeClr val="bg1"/>
                </a:solidFill>
              </a:defRPr>
            </a:lvl1pPr>
            <a:lvl2pPr marL="0" indent="0" algn="ctr">
              <a:buNone/>
              <a:defRPr>
                <a:solidFill>
                  <a:schemeClr val="accent1"/>
                </a:solidFill>
              </a:defRPr>
            </a:lvl2pPr>
            <a:lvl3pPr marL="0" indent="0" algn="ctr">
              <a:buNone/>
              <a:defRPr>
                <a:solidFill>
                  <a:schemeClr val="accent1"/>
                </a:solidFill>
              </a:defRPr>
            </a:lvl3pPr>
            <a:lvl4pPr marL="0" indent="0" algn="ctr">
              <a:buNone/>
              <a:defRPr>
                <a:solidFill>
                  <a:schemeClr val="accent1"/>
                </a:solidFill>
              </a:defRPr>
            </a:lvl4pPr>
            <a:lvl5pPr marL="0" indent="0" algn="ctr">
              <a:buNone/>
              <a:defRPr>
                <a:solidFill>
                  <a:schemeClr val="accent1"/>
                </a:solidFill>
              </a:defRPr>
            </a:lvl5pPr>
            <a:lvl6pPr marL="0" indent="0" algn="ctr">
              <a:buNone/>
              <a:defRPr>
                <a:solidFill>
                  <a:schemeClr val="accent1"/>
                </a:solidFill>
              </a:defRPr>
            </a:lvl6pPr>
            <a:lvl7pPr marL="0" indent="0" algn="ctr">
              <a:buNone/>
              <a:defRPr>
                <a:solidFill>
                  <a:schemeClr val="accent1"/>
                </a:solidFill>
              </a:defRPr>
            </a:lvl7pPr>
            <a:lvl8pPr marL="0" indent="0" algn="ctr">
              <a:buNone/>
              <a:defRPr>
                <a:solidFill>
                  <a:schemeClr val="accent1"/>
                </a:solidFill>
              </a:defRPr>
            </a:lvl8pPr>
            <a:lvl9pPr marL="0" indent="0" algn="ctr">
              <a:buNone/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  <a:endParaRPr lang="en-GB" dirty="0"/>
          </a:p>
        </p:txBody>
      </p:sp>
      <p:grpSp>
        <p:nvGrpSpPr>
          <p:cNvPr id="20" name="Logo">
            <a:extLst>
              <a:ext uri="{FF2B5EF4-FFF2-40B4-BE49-F238E27FC236}">
                <a16:creationId xmlns:a16="http://schemas.microsoft.com/office/drawing/2014/main" id="{09F58BCB-349D-4CC0-8F66-E3D4A6043645}"/>
              </a:ext>
            </a:extLst>
          </p:cNvPr>
          <p:cNvGrpSpPr/>
          <p:nvPr userDrawn="1"/>
        </p:nvGrpSpPr>
        <p:grpSpPr>
          <a:xfrm>
            <a:off x="10893210" y="6350918"/>
            <a:ext cx="755843" cy="322808"/>
            <a:chOff x="6380216" y="4059273"/>
            <a:chExt cx="2905863" cy="1241045"/>
          </a:xfrm>
          <a:solidFill>
            <a:schemeClr val="bg1"/>
          </a:solidFill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D5BB903-91B3-4C64-AE64-AAC4942FD2AA}"/>
                </a:ext>
              </a:extLst>
            </p:cNvPr>
            <p:cNvSpPr/>
            <p:nvPr/>
          </p:nvSpPr>
          <p:spPr>
            <a:xfrm>
              <a:off x="6380216" y="4059273"/>
              <a:ext cx="2905863" cy="346936"/>
            </a:xfrm>
            <a:custGeom>
              <a:avLst/>
              <a:gdLst>
                <a:gd name="connsiteX0" fmla="*/ 0 w 2905863"/>
                <a:gd name="connsiteY0" fmla="*/ 0 h 346936"/>
                <a:gd name="connsiteX1" fmla="*/ 2905864 w 2905863"/>
                <a:gd name="connsiteY1" fmla="*/ 0 h 346936"/>
                <a:gd name="connsiteX2" fmla="*/ 2905864 w 2905863"/>
                <a:gd name="connsiteY2" fmla="*/ 346937 h 346936"/>
                <a:gd name="connsiteX3" fmla="*/ 0 w 2905863"/>
                <a:gd name="connsiteY3" fmla="*/ 346937 h 34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346936">
                  <a:moveTo>
                    <a:pt x="0" y="0"/>
                  </a:moveTo>
                  <a:lnTo>
                    <a:pt x="2905864" y="0"/>
                  </a:lnTo>
                  <a:lnTo>
                    <a:pt x="2905864" y="346937"/>
                  </a:lnTo>
                  <a:lnTo>
                    <a:pt x="0" y="346937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B80EDA47-3086-46DB-BCBE-D169392A4A65}"/>
                </a:ext>
              </a:extLst>
            </p:cNvPr>
            <p:cNvSpPr/>
            <p:nvPr/>
          </p:nvSpPr>
          <p:spPr>
            <a:xfrm>
              <a:off x="6380216" y="4521775"/>
              <a:ext cx="2905863" cy="57854"/>
            </a:xfrm>
            <a:custGeom>
              <a:avLst/>
              <a:gdLst>
                <a:gd name="connsiteX0" fmla="*/ 0 w 2905863"/>
                <a:gd name="connsiteY0" fmla="*/ 0 h 57854"/>
                <a:gd name="connsiteX1" fmla="*/ 2905864 w 2905863"/>
                <a:gd name="connsiteY1" fmla="*/ 0 h 57854"/>
                <a:gd name="connsiteX2" fmla="*/ 2905864 w 2905863"/>
                <a:gd name="connsiteY2" fmla="*/ 57854 h 57854"/>
                <a:gd name="connsiteX3" fmla="*/ 0 w 2905863"/>
                <a:gd name="connsiteY3" fmla="*/ 57854 h 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57854">
                  <a:moveTo>
                    <a:pt x="0" y="0"/>
                  </a:moveTo>
                  <a:lnTo>
                    <a:pt x="2905864" y="0"/>
                  </a:lnTo>
                  <a:lnTo>
                    <a:pt x="2905864" y="57854"/>
                  </a:lnTo>
                  <a:lnTo>
                    <a:pt x="0" y="57854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3B5DC88-1778-444D-A3B1-B396024A726B}"/>
                </a:ext>
              </a:extLst>
            </p:cNvPr>
            <p:cNvSpPr/>
            <p:nvPr/>
          </p:nvSpPr>
          <p:spPr>
            <a:xfrm>
              <a:off x="6380216" y="4637294"/>
              <a:ext cx="2905863" cy="115566"/>
            </a:xfrm>
            <a:custGeom>
              <a:avLst/>
              <a:gdLst>
                <a:gd name="connsiteX0" fmla="*/ 0 w 2905863"/>
                <a:gd name="connsiteY0" fmla="*/ 0 h 115566"/>
                <a:gd name="connsiteX1" fmla="*/ 2905864 w 2905863"/>
                <a:gd name="connsiteY1" fmla="*/ 0 h 115566"/>
                <a:gd name="connsiteX2" fmla="*/ 2905864 w 2905863"/>
                <a:gd name="connsiteY2" fmla="*/ 115566 h 115566"/>
                <a:gd name="connsiteX3" fmla="*/ 0 w 2905863"/>
                <a:gd name="connsiteY3" fmla="*/ 115566 h 115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115566">
                  <a:moveTo>
                    <a:pt x="0" y="0"/>
                  </a:moveTo>
                  <a:lnTo>
                    <a:pt x="2905864" y="0"/>
                  </a:lnTo>
                  <a:lnTo>
                    <a:pt x="2905864" y="115566"/>
                  </a:lnTo>
                  <a:lnTo>
                    <a:pt x="0" y="115566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EA1697D9-4CF2-4944-93CF-B1FC9B02CC7A}"/>
                </a:ext>
              </a:extLst>
            </p:cNvPr>
            <p:cNvSpPr/>
            <p:nvPr/>
          </p:nvSpPr>
          <p:spPr>
            <a:xfrm>
              <a:off x="7833598" y="4927183"/>
              <a:ext cx="392545" cy="373134"/>
            </a:xfrm>
            <a:custGeom>
              <a:avLst/>
              <a:gdLst>
                <a:gd name="connsiteX0" fmla="*/ 303984 w 392545"/>
                <a:gd name="connsiteY0" fmla="*/ 19174 h 373134"/>
                <a:gd name="connsiteX1" fmla="*/ 201992 w 392545"/>
                <a:gd name="connsiteY1" fmla="*/ 0 h 373134"/>
                <a:gd name="connsiteX2" fmla="*/ 62173 w 392545"/>
                <a:gd name="connsiteY2" fmla="*/ 0 h 373134"/>
                <a:gd name="connsiteX3" fmla="*/ 27859 w 392545"/>
                <a:gd name="connsiteY3" fmla="*/ 0 h 373134"/>
                <a:gd name="connsiteX4" fmla="*/ 0 w 392545"/>
                <a:gd name="connsiteY4" fmla="*/ 0 h 373134"/>
                <a:gd name="connsiteX5" fmla="*/ 0 w 392545"/>
                <a:gd name="connsiteY5" fmla="*/ 373135 h 373134"/>
                <a:gd name="connsiteX6" fmla="*/ 27859 w 392545"/>
                <a:gd name="connsiteY6" fmla="*/ 373135 h 373134"/>
                <a:gd name="connsiteX7" fmla="*/ 62173 w 392545"/>
                <a:gd name="connsiteY7" fmla="*/ 373135 h 373134"/>
                <a:gd name="connsiteX8" fmla="*/ 201992 w 392545"/>
                <a:gd name="connsiteY8" fmla="*/ 373135 h 373134"/>
                <a:gd name="connsiteX9" fmla="*/ 303984 w 392545"/>
                <a:gd name="connsiteY9" fmla="*/ 353961 h 373134"/>
                <a:gd name="connsiteX10" fmla="*/ 369670 w 392545"/>
                <a:gd name="connsiteY10" fmla="*/ 296249 h 373134"/>
                <a:gd name="connsiteX11" fmla="*/ 392546 w 392545"/>
                <a:gd name="connsiteY11" fmla="*/ 199477 h 373134"/>
                <a:gd name="connsiteX12" fmla="*/ 392546 w 392545"/>
                <a:gd name="connsiteY12" fmla="*/ 173611 h 373134"/>
                <a:gd name="connsiteX13" fmla="*/ 369670 w 392545"/>
                <a:gd name="connsiteY13" fmla="*/ 76839 h 373134"/>
                <a:gd name="connsiteX14" fmla="*/ 303984 w 392545"/>
                <a:gd name="connsiteY14" fmla="*/ 19174 h 373134"/>
                <a:gd name="connsiteX15" fmla="*/ 331369 w 392545"/>
                <a:gd name="connsiteY15" fmla="*/ 197531 h 373134"/>
                <a:gd name="connsiteX16" fmla="*/ 299048 w 392545"/>
                <a:gd name="connsiteY16" fmla="*/ 287563 h 373134"/>
                <a:gd name="connsiteX17" fmla="*/ 202514 w 392545"/>
                <a:gd name="connsiteY17" fmla="*/ 316894 h 373134"/>
                <a:gd name="connsiteX18" fmla="*/ 62221 w 392545"/>
                <a:gd name="connsiteY18" fmla="*/ 316894 h 373134"/>
                <a:gd name="connsiteX19" fmla="*/ 62221 w 392545"/>
                <a:gd name="connsiteY19" fmla="*/ 56193 h 373134"/>
                <a:gd name="connsiteX20" fmla="*/ 202514 w 392545"/>
                <a:gd name="connsiteY20" fmla="*/ 56193 h 373134"/>
                <a:gd name="connsiteX21" fmla="*/ 299048 w 392545"/>
                <a:gd name="connsiteY21" fmla="*/ 84812 h 373134"/>
                <a:gd name="connsiteX22" fmla="*/ 331369 w 392545"/>
                <a:gd name="connsiteY22" fmla="*/ 175604 h 373134"/>
                <a:gd name="connsiteX23" fmla="*/ 331369 w 392545"/>
                <a:gd name="connsiteY23" fmla="*/ 197531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2545" h="373134">
                  <a:moveTo>
                    <a:pt x="303984" y="19174"/>
                  </a:moveTo>
                  <a:cubicBezTo>
                    <a:pt x="275461" y="6407"/>
                    <a:pt x="241479" y="0"/>
                    <a:pt x="201992" y="0"/>
                  </a:cubicBezTo>
                  <a:lnTo>
                    <a:pt x="62173" y="0"/>
                  </a:lnTo>
                  <a:lnTo>
                    <a:pt x="27859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27859" y="373135"/>
                  </a:lnTo>
                  <a:lnTo>
                    <a:pt x="62173" y="373135"/>
                  </a:lnTo>
                  <a:lnTo>
                    <a:pt x="201992" y="373135"/>
                  </a:lnTo>
                  <a:cubicBezTo>
                    <a:pt x="241479" y="373135"/>
                    <a:pt x="275461" y="366728"/>
                    <a:pt x="303984" y="353961"/>
                  </a:cubicBezTo>
                  <a:cubicBezTo>
                    <a:pt x="332508" y="341194"/>
                    <a:pt x="354387" y="321972"/>
                    <a:pt x="369670" y="296249"/>
                  </a:cubicBezTo>
                  <a:cubicBezTo>
                    <a:pt x="384904" y="270525"/>
                    <a:pt x="392546" y="238299"/>
                    <a:pt x="392546" y="199477"/>
                  </a:cubicBezTo>
                  <a:lnTo>
                    <a:pt x="392546" y="173611"/>
                  </a:lnTo>
                  <a:cubicBezTo>
                    <a:pt x="392546" y="134788"/>
                    <a:pt x="384904" y="102562"/>
                    <a:pt x="369670" y="76839"/>
                  </a:cubicBezTo>
                  <a:cubicBezTo>
                    <a:pt x="354387" y="51162"/>
                    <a:pt x="332508" y="31941"/>
                    <a:pt x="303984" y="19174"/>
                  </a:cubicBezTo>
                  <a:close/>
                  <a:moveTo>
                    <a:pt x="331369" y="197531"/>
                  </a:moveTo>
                  <a:cubicBezTo>
                    <a:pt x="331369" y="238015"/>
                    <a:pt x="320596" y="268010"/>
                    <a:pt x="299048" y="287563"/>
                  </a:cubicBezTo>
                  <a:cubicBezTo>
                    <a:pt x="277502" y="307117"/>
                    <a:pt x="245323" y="316894"/>
                    <a:pt x="202514" y="316894"/>
                  </a:cubicBezTo>
                  <a:lnTo>
                    <a:pt x="62221" y="316894"/>
                  </a:lnTo>
                  <a:lnTo>
                    <a:pt x="62221" y="56193"/>
                  </a:lnTo>
                  <a:lnTo>
                    <a:pt x="202514" y="56193"/>
                  </a:lnTo>
                  <a:cubicBezTo>
                    <a:pt x="245323" y="56193"/>
                    <a:pt x="277454" y="65733"/>
                    <a:pt x="299048" y="84812"/>
                  </a:cubicBezTo>
                  <a:cubicBezTo>
                    <a:pt x="320596" y="103891"/>
                    <a:pt x="331369" y="134171"/>
                    <a:pt x="331369" y="175604"/>
                  </a:cubicBezTo>
                  <a:lnTo>
                    <a:pt x="331369" y="197531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25C48EF-8251-429D-871E-391A6900D198}"/>
                </a:ext>
              </a:extLst>
            </p:cNvPr>
            <p:cNvSpPr/>
            <p:nvPr/>
          </p:nvSpPr>
          <p:spPr>
            <a:xfrm>
              <a:off x="8344036" y="4927183"/>
              <a:ext cx="410485" cy="373134"/>
            </a:xfrm>
            <a:custGeom>
              <a:avLst/>
              <a:gdLst>
                <a:gd name="connsiteX0" fmla="*/ 349262 w 410485"/>
                <a:gd name="connsiteY0" fmla="*/ 291598 h 373134"/>
                <a:gd name="connsiteX1" fmla="*/ 60702 w 410485"/>
                <a:gd name="connsiteY1" fmla="*/ 0 h 373134"/>
                <a:gd name="connsiteX2" fmla="*/ 26388 w 410485"/>
                <a:gd name="connsiteY2" fmla="*/ 0 h 373134"/>
                <a:gd name="connsiteX3" fmla="*/ 0 w 410485"/>
                <a:gd name="connsiteY3" fmla="*/ 0 h 373134"/>
                <a:gd name="connsiteX4" fmla="*/ 0 w 410485"/>
                <a:gd name="connsiteY4" fmla="*/ 373135 h 373134"/>
                <a:gd name="connsiteX5" fmla="*/ 60702 w 410485"/>
                <a:gd name="connsiteY5" fmla="*/ 373135 h 373134"/>
                <a:gd name="connsiteX6" fmla="*/ 60702 w 410485"/>
                <a:gd name="connsiteY6" fmla="*/ 81917 h 373134"/>
                <a:gd name="connsiteX7" fmla="*/ 349262 w 410485"/>
                <a:gd name="connsiteY7" fmla="*/ 373135 h 373134"/>
                <a:gd name="connsiteX8" fmla="*/ 410486 w 410485"/>
                <a:gd name="connsiteY8" fmla="*/ 373135 h 373134"/>
                <a:gd name="connsiteX9" fmla="*/ 410486 w 410485"/>
                <a:gd name="connsiteY9" fmla="*/ 0 h 373134"/>
                <a:gd name="connsiteX10" fmla="*/ 349262 w 410485"/>
                <a:gd name="connsiteY10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485" h="373134">
                  <a:moveTo>
                    <a:pt x="349262" y="291598"/>
                  </a:moveTo>
                  <a:lnTo>
                    <a:pt x="60702" y="0"/>
                  </a:lnTo>
                  <a:lnTo>
                    <a:pt x="26388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60702" y="373135"/>
                  </a:lnTo>
                  <a:lnTo>
                    <a:pt x="60702" y="81917"/>
                  </a:lnTo>
                  <a:lnTo>
                    <a:pt x="349262" y="373135"/>
                  </a:lnTo>
                  <a:lnTo>
                    <a:pt x="410486" y="373135"/>
                  </a:lnTo>
                  <a:lnTo>
                    <a:pt x="410486" y="0"/>
                  </a:lnTo>
                  <a:lnTo>
                    <a:pt x="349262" y="0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1375CC11-5108-4662-A8B5-EA30F6DA9B5B}"/>
                </a:ext>
              </a:extLst>
            </p:cNvPr>
            <p:cNvSpPr/>
            <p:nvPr/>
          </p:nvSpPr>
          <p:spPr>
            <a:xfrm>
              <a:off x="8863965" y="4927183"/>
              <a:ext cx="421876" cy="373134"/>
            </a:xfrm>
            <a:custGeom>
              <a:avLst/>
              <a:gdLst>
                <a:gd name="connsiteX0" fmla="*/ 355716 w 421876"/>
                <a:gd name="connsiteY0" fmla="*/ 0 h 373134"/>
                <a:gd name="connsiteX1" fmla="*/ 212955 w 421876"/>
                <a:gd name="connsiteY1" fmla="*/ 291598 h 373134"/>
                <a:gd name="connsiteX2" fmla="*/ 70146 w 421876"/>
                <a:gd name="connsiteY2" fmla="*/ 0 h 373134"/>
                <a:gd name="connsiteX3" fmla="*/ 0 w 421876"/>
                <a:gd name="connsiteY3" fmla="*/ 0 h 373134"/>
                <a:gd name="connsiteX4" fmla="*/ 187042 w 421876"/>
                <a:gd name="connsiteY4" fmla="*/ 373135 h 373134"/>
                <a:gd name="connsiteX5" fmla="*/ 235309 w 421876"/>
                <a:gd name="connsiteY5" fmla="*/ 373135 h 373134"/>
                <a:gd name="connsiteX6" fmla="*/ 421876 w 421876"/>
                <a:gd name="connsiteY6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876" h="373134">
                  <a:moveTo>
                    <a:pt x="355716" y="0"/>
                  </a:moveTo>
                  <a:lnTo>
                    <a:pt x="212955" y="291598"/>
                  </a:lnTo>
                  <a:lnTo>
                    <a:pt x="70146" y="0"/>
                  </a:lnTo>
                  <a:lnTo>
                    <a:pt x="0" y="0"/>
                  </a:lnTo>
                  <a:lnTo>
                    <a:pt x="187042" y="373135"/>
                  </a:lnTo>
                  <a:lnTo>
                    <a:pt x="235309" y="373135"/>
                  </a:lnTo>
                  <a:lnTo>
                    <a:pt x="421876" y="0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27" name="SD_FLD_Draft" hidden="1">
            <a:extLst>
              <a:ext uri="{FF2B5EF4-FFF2-40B4-BE49-F238E27FC236}">
                <a16:creationId xmlns:a16="http://schemas.microsoft.com/office/drawing/2014/main" id="{3FC1FDE6-634E-475F-B714-288B04163A1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29" name="_SD_FLD_Copyright">
            <a:extLst>
              <a:ext uri="{FF2B5EF4-FFF2-40B4-BE49-F238E27FC236}">
                <a16:creationId xmlns:a16="http://schemas.microsoft.com/office/drawing/2014/main" id="{4EF32643-4AA4-4AE0-A02E-89DB04C2892F}"/>
              </a:ext>
            </a:extLst>
          </p:cNvPr>
          <p:cNvSpPr txBox="1"/>
          <p:nvPr userDrawn="1"/>
        </p:nvSpPr>
        <p:spPr>
          <a:xfrm>
            <a:off x="818923" y="6449138"/>
            <a:ext cx="27892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noProof="0" dirty="0">
                <a:solidFill>
                  <a:schemeClr val="bg1"/>
                </a:solidFill>
              </a:rPr>
              <a:t>DNV ©</a:t>
            </a:r>
          </a:p>
        </p:txBody>
      </p:sp>
      <p:sp>
        <p:nvSpPr>
          <p:cNvPr id="30" name="Date Placeholder 9">
            <a:extLst>
              <a:ext uri="{FF2B5EF4-FFF2-40B4-BE49-F238E27FC236}">
                <a16:creationId xmlns:a16="http://schemas.microsoft.com/office/drawing/2014/main" id="{BD20AE02-FD75-47FA-9ECB-70619DD78A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68587" y="6445820"/>
            <a:ext cx="107134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US"/>
              <a:t>Rev. 1.0</a:t>
            </a:r>
            <a:endParaRPr lang="de-DE" dirty="0"/>
          </a:p>
        </p:txBody>
      </p:sp>
      <p:sp>
        <p:nvSpPr>
          <p:cNvPr id="31" name="Footer Placeholder 11">
            <a:extLst>
              <a:ext uri="{FF2B5EF4-FFF2-40B4-BE49-F238E27FC236}">
                <a16:creationId xmlns:a16="http://schemas.microsoft.com/office/drawing/2014/main" id="{80B94569-F5A2-4DFA-90B4-9A63D680EF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0596" y="6439418"/>
            <a:ext cx="834040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700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32" name="Slide Number Placeholder 12">
            <a:extLst>
              <a:ext uri="{FF2B5EF4-FFF2-40B4-BE49-F238E27FC236}">
                <a16:creationId xmlns:a16="http://schemas.microsoft.com/office/drawing/2014/main" id="{1A744575-E98A-47C1-BD04-660195471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392" y="644740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700" smtClean="0">
                <a:solidFill>
                  <a:schemeClr val="bg1"/>
                </a:solidFill>
              </a:defRPr>
            </a:lvl1pPr>
          </a:lstStyle>
          <a:p>
            <a:fld id="{300F8F77-4347-4BF0-A9D7-4E51985595AC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3856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77" userDrawn="1">
          <p15:clr>
            <a:srgbClr val="F26B43"/>
          </p15:clr>
        </p15:guide>
        <p15:guide id="2" pos="3501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ackground pic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0BB740F-040E-4C29-B57E-B7474FA2CCF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046788"/>
          </a:xfrm>
          <a:blipFill>
            <a:blip r:embed="rId3"/>
            <a:stretch>
              <a:fillRect/>
            </a:stretch>
          </a:blipFill>
        </p:spPr>
        <p:txBody>
          <a:bodyPr lIns="8064000" tIns="612000" rIns="1116000" anchor="ctr" anchorCtr="0"/>
          <a:lstStyle>
            <a:lvl1pPr marL="0" indent="0" algn="l">
              <a:buNone/>
              <a:defRPr sz="160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on picture frame to insert background picture, click on DNV-menu / Image Tools-button / Choose Insert or Past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C677DA-1553-4ACE-88F0-1D90541A68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9" name="Date Placeholder 9">
            <a:extLst>
              <a:ext uri="{FF2B5EF4-FFF2-40B4-BE49-F238E27FC236}">
                <a16:creationId xmlns:a16="http://schemas.microsoft.com/office/drawing/2014/main" id="{87411EDD-997D-401D-A015-604D43219A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68587" y="6445820"/>
            <a:ext cx="107134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GB" sz="700" smtClean="0">
                <a:solidFill>
                  <a:schemeClr val="accent1"/>
                </a:solidFill>
              </a:defRPr>
            </a:lvl1pPr>
          </a:lstStyle>
          <a:p>
            <a:r>
              <a:rPr lang="en-US"/>
              <a:t>Rev. 1.0</a:t>
            </a:r>
            <a:endParaRPr lang="de-DE" dirty="0"/>
          </a:p>
        </p:txBody>
      </p:sp>
      <p:sp>
        <p:nvSpPr>
          <p:cNvPr id="10" name="Footer Placeholder 11">
            <a:extLst>
              <a:ext uri="{FF2B5EF4-FFF2-40B4-BE49-F238E27FC236}">
                <a16:creationId xmlns:a16="http://schemas.microsoft.com/office/drawing/2014/main" id="{97F45595-CB71-4434-92B1-E078BEF9F0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0596" y="6439418"/>
            <a:ext cx="834040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700" dirty="0">
                <a:solidFill>
                  <a:schemeClr val="accent1"/>
                </a:solidFill>
              </a:defRPr>
            </a:lvl1pPr>
          </a:lstStyle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05E8BA37-D186-47A0-9236-512320A9F9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392" y="644740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700" smtClean="0">
                <a:solidFill>
                  <a:schemeClr val="accent1"/>
                </a:solidFill>
              </a:defRPr>
            </a:lvl1pPr>
          </a:lstStyle>
          <a:p>
            <a:fld id="{300F8F77-4347-4BF0-A9D7-4E51985595AC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413856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0F7CFE-DCB6-4202-B09A-637C5745A3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7" name="Date Placeholder 9">
            <a:extLst>
              <a:ext uri="{FF2B5EF4-FFF2-40B4-BE49-F238E27FC236}">
                <a16:creationId xmlns:a16="http://schemas.microsoft.com/office/drawing/2014/main" id="{683ACF1F-6C69-40F7-A7ED-453A00BDC2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68587" y="6445820"/>
            <a:ext cx="107134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GB" sz="700" smtClean="0">
                <a:solidFill>
                  <a:schemeClr val="accent1"/>
                </a:solidFill>
              </a:defRPr>
            </a:lvl1pPr>
          </a:lstStyle>
          <a:p>
            <a:r>
              <a:rPr lang="en-US"/>
              <a:t>Rev. 1.0</a:t>
            </a:r>
            <a:endParaRPr lang="de-DE" dirty="0"/>
          </a:p>
        </p:txBody>
      </p:sp>
      <p:sp>
        <p:nvSpPr>
          <p:cNvPr id="8" name="Footer Placeholder 11">
            <a:extLst>
              <a:ext uri="{FF2B5EF4-FFF2-40B4-BE49-F238E27FC236}">
                <a16:creationId xmlns:a16="http://schemas.microsoft.com/office/drawing/2014/main" id="{6194F6AD-E8D8-4917-B929-9D53CEA10E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0596" y="6439418"/>
            <a:ext cx="834040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700" dirty="0">
                <a:solidFill>
                  <a:schemeClr val="accent1"/>
                </a:solidFill>
              </a:defRPr>
            </a:lvl1pPr>
          </a:lstStyle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5AB71F37-EFCA-4099-AB1E-4681189F9D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392" y="644740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700" smtClean="0">
                <a:solidFill>
                  <a:schemeClr val="accent1"/>
                </a:solidFill>
              </a:defRPr>
            </a:lvl1pPr>
          </a:lstStyle>
          <a:p>
            <a:fld id="{300F8F77-4347-4BF0-A9D7-4E51985595AC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5533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v. 1.0</a:t>
            </a:r>
            <a:endParaRPr lang="en-GB" dirty="0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Maritime Cyber Security</a:t>
            </a:r>
            <a:endParaRPr lang="en-GB" dirty="0"/>
          </a:p>
        </p:txBody>
      </p:sp>
      <p:sp>
        <p:nvSpPr>
          <p:cNvPr id="4" name="Slide Number Placeholder 3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SD_FLD_Draft" hidden="1">
            <a:extLst>
              <a:ext uri="{FF2B5EF4-FFF2-40B4-BE49-F238E27FC236}">
                <a16:creationId xmlns:a16="http://schemas.microsoft.com/office/drawing/2014/main" id="{9324EF98-2F0A-4D7C-ACD4-6C69299B31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8" name="SD_FLD_Confidentiality">
            <a:extLst>
              <a:ext uri="{FF2B5EF4-FFF2-40B4-BE49-F238E27FC236}">
                <a16:creationId xmlns:a16="http://schemas.microsoft.com/office/drawing/2014/main" id="{44B7048E-FFD7-4E41-AC43-9BDB83CCE1EC}"/>
              </a:ext>
            </a:extLst>
          </p:cNvPr>
          <p:cNvSpPr/>
          <p:nvPr userDrawn="1"/>
        </p:nvSpPr>
        <p:spPr>
          <a:xfrm>
            <a:off x="7131600" y="6440400"/>
            <a:ext cx="2440800" cy="1512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GB" sz="700" b="0" kern="1200" cap="all" baseline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699145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ltGray">
          <a:xfrm>
            <a:off x="1" y="0"/>
            <a:ext cx="12191999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D0B91A6F-3F96-48D5-B578-BC55BEA05B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922" r="24420" b="6742"/>
          <a:stretch>
            <a:fillRect/>
          </a:stretch>
        </p:blipFill>
        <p:spPr>
          <a:xfrm>
            <a:off x="3575720" y="-412180"/>
            <a:ext cx="8592000" cy="6858000"/>
          </a:xfrm>
          <a:custGeom>
            <a:avLst/>
            <a:gdLst>
              <a:gd name="connsiteX0" fmla="*/ 0 w 8592000"/>
              <a:gd name="connsiteY0" fmla="*/ 0 h 6858000"/>
              <a:gd name="connsiteX1" fmla="*/ 8592000 w 8592000"/>
              <a:gd name="connsiteY1" fmla="*/ 0 h 6858000"/>
              <a:gd name="connsiteX2" fmla="*/ 8592000 w 8592000"/>
              <a:gd name="connsiteY2" fmla="*/ 6858000 h 6858000"/>
              <a:gd name="connsiteX3" fmla="*/ 0 w 85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92000" h="6858000">
                <a:moveTo>
                  <a:pt x="0" y="0"/>
                </a:moveTo>
                <a:lnTo>
                  <a:pt x="8592000" y="0"/>
                </a:lnTo>
                <a:lnTo>
                  <a:pt x="85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grpSp>
        <p:nvGrpSpPr>
          <p:cNvPr id="16" name="Logo">
            <a:extLst>
              <a:ext uri="{FF2B5EF4-FFF2-40B4-BE49-F238E27FC236}">
                <a16:creationId xmlns:a16="http://schemas.microsoft.com/office/drawing/2014/main" id="{582D80DA-3434-42F0-8BBA-787FFCEA7180}"/>
              </a:ext>
            </a:extLst>
          </p:cNvPr>
          <p:cNvGrpSpPr>
            <a:grpSpLocks noChangeAspect="1"/>
          </p:cNvGrpSpPr>
          <p:nvPr userDrawn="1"/>
        </p:nvGrpSpPr>
        <p:grpSpPr bwMode="white">
          <a:xfrm>
            <a:off x="9950400" y="5800971"/>
            <a:ext cx="1702800" cy="727237"/>
            <a:chOff x="6380216" y="4059273"/>
            <a:chExt cx="2905863" cy="1241045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679ECA6-9859-4013-A93B-16010BF55817}"/>
                </a:ext>
              </a:extLst>
            </p:cNvPr>
            <p:cNvSpPr/>
            <p:nvPr/>
          </p:nvSpPr>
          <p:spPr bwMode="white">
            <a:xfrm>
              <a:off x="6380216" y="4059273"/>
              <a:ext cx="2905863" cy="346936"/>
            </a:xfrm>
            <a:custGeom>
              <a:avLst/>
              <a:gdLst>
                <a:gd name="connsiteX0" fmla="*/ 0 w 2905863"/>
                <a:gd name="connsiteY0" fmla="*/ 0 h 346936"/>
                <a:gd name="connsiteX1" fmla="*/ 2905864 w 2905863"/>
                <a:gd name="connsiteY1" fmla="*/ 0 h 346936"/>
                <a:gd name="connsiteX2" fmla="*/ 2905864 w 2905863"/>
                <a:gd name="connsiteY2" fmla="*/ 346937 h 346936"/>
                <a:gd name="connsiteX3" fmla="*/ 0 w 2905863"/>
                <a:gd name="connsiteY3" fmla="*/ 346937 h 34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346936">
                  <a:moveTo>
                    <a:pt x="0" y="0"/>
                  </a:moveTo>
                  <a:lnTo>
                    <a:pt x="2905864" y="0"/>
                  </a:lnTo>
                  <a:lnTo>
                    <a:pt x="2905864" y="346937"/>
                  </a:lnTo>
                  <a:lnTo>
                    <a:pt x="0" y="346937"/>
                  </a:lnTo>
                  <a:close/>
                </a:path>
              </a:pathLst>
            </a:custGeom>
            <a:solidFill>
              <a:schemeClr val="bg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BCEF638-291C-4421-9C1B-EB934A0F0109}"/>
                </a:ext>
              </a:extLst>
            </p:cNvPr>
            <p:cNvSpPr/>
            <p:nvPr/>
          </p:nvSpPr>
          <p:spPr bwMode="white">
            <a:xfrm>
              <a:off x="6380216" y="4521775"/>
              <a:ext cx="2905863" cy="57854"/>
            </a:xfrm>
            <a:custGeom>
              <a:avLst/>
              <a:gdLst>
                <a:gd name="connsiteX0" fmla="*/ 0 w 2905863"/>
                <a:gd name="connsiteY0" fmla="*/ 0 h 57854"/>
                <a:gd name="connsiteX1" fmla="*/ 2905864 w 2905863"/>
                <a:gd name="connsiteY1" fmla="*/ 0 h 57854"/>
                <a:gd name="connsiteX2" fmla="*/ 2905864 w 2905863"/>
                <a:gd name="connsiteY2" fmla="*/ 57854 h 57854"/>
                <a:gd name="connsiteX3" fmla="*/ 0 w 2905863"/>
                <a:gd name="connsiteY3" fmla="*/ 57854 h 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57854">
                  <a:moveTo>
                    <a:pt x="0" y="0"/>
                  </a:moveTo>
                  <a:lnTo>
                    <a:pt x="2905864" y="0"/>
                  </a:lnTo>
                  <a:lnTo>
                    <a:pt x="2905864" y="57854"/>
                  </a:lnTo>
                  <a:lnTo>
                    <a:pt x="0" y="57854"/>
                  </a:lnTo>
                  <a:close/>
                </a:path>
              </a:pathLst>
            </a:custGeom>
            <a:solidFill>
              <a:schemeClr val="bg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EC0FCA9-D6D8-4B36-A4E6-0244141FD9FC}"/>
                </a:ext>
              </a:extLst>
            </p:cNvPr>
            <p:cNvSpPr/>
            <p:nvPr/>
          </p:nvSpPr>
          <p:spPr bwMode="white">
            <a:xfrm>
              <a:off x="6380216" y="4637294"/>
              <a:ext cx="2905863" cy="115566"/>
            </a:xfrm>
            <a:custGeom>
              <a:avLst/>
              <a:gdLst>
                <a:gd name="connsiteX0" fmla="*/ 0 w 2905863"/>
                <a:gd name="connsiteY0" fmla="*/ 0 h 115566"/>
                <a:gd name="connsiteX1" fmla="*/ 2905864 w 2905863"/>
                <a:gd name="connsiteY1" fmla="*/ 0 h 115566"/>
                <a:gd name="connsiteX2" fmla="*/ 2905864 w 2905863"/>
                <a:gd name="connsiteY2" fmla="*/ 115566 h 115566"/>
                <a:gd name="connsiteX3" fmla="*/ 0 w 2905863"/>
                <a:gd name="connsiteY3" fmla="*/ 115566 h 115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115566">
                  <a:moveTo>
                    <a:pt x="0" y="0"/>
                  </a:moveTo>
                  <a:lnTo>
                    <a:pt x="2905864" y="0"/>
                  </a:lnTo>
                  <a:lnTo>
                    <a:pt x="2905864" y="115566"/>
                  </a:lnTo>
                  <a:lnTo>
                    <a:pt x="0" y="115566"/>
                  </a:lnTo>
                  <a:close/>
                </a:path>
              </a:pathLst>
            </a:custGeom>
            <a:solidFill>
              <a:schemeClr val="bg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3552AFE-81A2-4ED5-8069-997ABD975336}"/>
                </a:ext>
              </a:extLst>
            </p:cNvPr>
            <p:cNvSpPr/>
            <p:nvPr/>
          </p:nvSpPr>
          <p:spPr bwMode="white">
            <a:xfrm>
              <a:off x="7833598" y="4927183"/>
              <a:ext cx="392545" cy="373134"/>
            </a:xfrm>
            <a:custGeom>
              <a:avLst/>
              <a:gdLst>
                <a:gd name="connsiteX0" fmla="*/ 303984 w 392545"/>
                <a:gd name="connsiteY0" fmla="*/ 19174 h 373134"/>
                <a:gd name="connsiteX1" fmla="*/ 201992 w 392545"/>
                <a:gd name="connsiteY1" fmla="*/ 0 h 373134"/>
                <a:gd name="connsiteX2" fmla="*/ 62173 w 392545"/>
                <a:gd name="connsiteY2" fmla="*/ 0 h 373134"/>
                <a:gd name="connsiteX3" fmla="*/ 27859 w 392545"/>
                <a:gd name="connsiteY3" fmla="*/ 0 h 373134"/>
                <a:gd name="connsiteX4" fmla="*/ 0 w 392545"/>
                <a:gd name="connsiteY4" fmla="*/ 0 h 373134"/>
                <a:gd name="connsiteX5" fmla="*/ 0 w 392545"/>
                <a:gd name="connsiteY5" fmla="*/ 373135 h 373134"/>
                <a:gd name="connsiteX6" fmla="*/ 27859 w 392545"/>
                <a:gd name="connsiteY6" fmla="*/ 373135 h 373134"/>
                <a:gd name="connsiteX7" fmla="*/ 62173 w 392545"/>
                <a:gd name="connsiteY7" fmla="*/ 373135 h 373134"/>
                <a:gd name="connsiteX8" fmla="*/ 201992 w 392545"/>
                <a:gd name="connsiteY8" fmla="*/ 373135 h 373134"/>
                <a:gd name="connsiteX9" fmla="*/ 303984 w 392545"/>
                <a:gd name="connsiteY9" fmla="*/ 353961 h 373134"/>
                <a:gd name="connsiteX10" fmla="*/ 369670 w 392545"/>
                <a:gd name="connsiteY10" fmla="*/ 296249 h 373134"/>
                <a:gd name="connsiteX11" fmla="*/ 392546 w 392545"/>
                <a:gd name="connsiteY11" fmla="*/ 199477 h 373134"/>
                <a:gd name="connsiteX12" fmla="*/ 392546 w 392545"/>
                <a:gd name="connsiteY12" fmla="*/ 173611 h 373134"/>
                <a:gd name="connsiteX13" fmla="*/ 369670 w 392545"/>
                <a:gd name="connsiteY13" fmla="*/ 76839 h 373134"/>
                <a:gd name="connsiteX14" fmla="*/ 303984 w 392545"/>
                <a:gd name="connsiteY14" fmla="*/ 19174 h 373134"/>
                <a:gd name="connsiteX15" fmla="*/ 331369 w 392545"/>
                <a:gd name="connsiteY15" fmla="*/ 197531 h 373134"/>
                <a:gd name="connsiteX16" fmla="*/ 299048 w 392545"/>
                <a:gd name="connsiteY16" fmla="*/ 287563 h 373134"/>
                <a:gd name="connsiteX17" fmla="*/ 202514 w 392545"/>
                <a:gd name="connsiteY17" fmla="*/ 316894 h 373134"/>
                <a:gd name="connsiteX18" fmla="*/ 62221 w 392545"/>
                <a:gd name="connsiteY18" fmla="*/ 316894 h 373134"/>
                <a:gd name="connsiteX19" fmla="*/ 62221 w 392545"/>
                <a:gd name="connsiteY19" fmla="*/ 56193 h 373134"/>
                <a:gd name="connsiteX20" fmla="*/ 202514 w 392545"/>
                <a:gd name="connsiteY20" fmla="*/ 56193 h 373134"/>
                <a:gd name="connsiteX21" fmla="*/ 299048 w 392545"/>
                <a:gd name="connsiteY21" fmla="*/ 84812 h 373134"/>
                <a:gd name="connsiteX22" fmla="*/ 331369 w 392545"/>
                <a:gd name="connsiteY22" fmla="*/ 175604 h 373134"/>
                <a:gd name="connsiteX23" fmla="*/ 331369 w 392545"/>
                <a:gd name="connsiteY23" fmla="*/ 197531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2545" h="373134">
                  <a:moveTo>
                    <a:pt x="303984" y="19174"/>
                  </a:moveTo>
                  <a:cubicBezTo>
                    <a:pt x="275461" y="6407"/>
                    <a:pt x="241479" y="0"/>
                    <a:pt x="201992" y="0"/>
                  </a:cubicBezTo>
                  <a:lnTo>
                    <a:pt x="62173" y="0"/>
                  </a:lnTo>
                  <a:lnTo>
                    <a:pt x="27859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27859" y="373135"/>
                  </a:lnTo>
                  <a:lnTo>
                    <a:pt x="62173" y="373135"/>
                  </a:lnTo>
                  <a:lnTo>
                    <a:pt x="201992" y="373135"/>
                  </a:lnTo>
                  <a:cubicBezTo>
                    <a:pt x="241479" y="373135"/>
                    <a:pt x="275461" y="366728"/>
                    <a:pt x="303984" y="353961"/>
                  </a:cubicBezTo>
                  <a:cubicBezTo>
                    <a:pt x="332508" y="341194"/>
                    <a:pt x="354387" y="321972"/>
                    <a:pt x="369670" y="296249"/>
                  </a:cubicBezTo>
                  <a:cubicBezTo>
                    <a:pt x="384904" y="270525"/>
                    <a:pt x="392546" y="238299"/>
                    <a:pt x="392546" y="199477"/>
                  </a:cubicBezTo>
                  <a:lnTo>
                    <a:pt x="392546" y="173611"/>
                  </a:lnTo>
                  <a:cubicBezTo>
                    <a:pt x="392546" y="134788"/>
                    <a:pt x="384904" y="102562"/>
                    <a:pt x="369670" y="76839"/>
                  </a:cubicBezTo>
                  <a:cubicBezTo>
                    <a:pt x="354387" y="51162"/>
                    <a:pt x="332508" y="31941"/>
                    <a:pt x="303984" y="19174"/>
                  </a:cubicBezTo>
                  <a:close/>
                  <a:moveTo>
                    <a:pt x="331369" y="197531"/>
                  </a:moveTo>
                  <a:cubicBezTo>
                    <a:pt x="331369" y="238015"/>
                    <a:pt x="320596" y="268010"/>
                    <a:pt x="299048" y="287563"/>
                  </a:cubicBezTo>
                  <a:cubicBezTo>
                    <a:pt x="277502" y="307117"/>
                    <a:pt x="245323" y="316894"/>
                    <a:pt x="202514" y="316894"/>
                  </a:cubicBezTo>
                  <a:lnTo>
                    <a:pt x="62221" y="316894"/>
                  </a:lnTo>
                  <a:lnTo>
                    <a:pt x="62221" y="56193"/>
                  </a:lnTo>
                  <a:lnTo>
                    <a:pt x="202514" y="56193"/>
                  </a:lnTo>
                  <a:cubicBezTo>
                    <a:pt x="245323" y="56193"/>
                    <a:pt x="277454" y="65733"/>
                    <a:pt x="299048" y="84812"/>
                  </a:cubicBezTo>
                  <a:cubicBezTo>
                    <a:pt x="320596" y="103891"/>
                    <a:pt x="331369" y="134171"/>
                    <a:pt x="331369" y="175604"/>
                  </a:cubicBezTo>
                  <a:lnTo>
                    <a:pt x="331369" y="197531"/>
                  </a:lnTo>
                  <a:close/>
                </a:path>
              </a:pathLst>
            </a:custGeom>
            <a:solidFill>
              <a:schemeClr val="bg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4D2AB6C2-8FD2-440E-99DD-96E8F19C42CD}"/>
                </a:ext>
              </a:extLst>
            </p:cNvPr>
            <p:cNvSpPr/>
            <p:nvPr/>
          </p:nvSpPr>
          <p:spPr bwMode="white">
            <a:xfrm>
              <a:off x="8344036" y="4927183"/>
              <a:ext cx="410485" cy="373134"/>
            </a:xfrm>
            <a:custGeom>
              <a:avLst/>
              <a:gdLst>
                <a:gd name="connsiteX0" fmla="*/ 349262 w 410485"/>
                <a:gd name="connsiteY0" fmla="*/ 291598 h 373134"/>
                <a:gd name="connsiteX1" fmla="*/ 60702 w 410485"/>
                <a:gd name="connsiteY1" fmla="*/ 0 h 373134"/>
                <a:gd name="connsiteX2" fmla="*/ 26388 w 410485"/>
                <a:gd name="connsiteY2" fmla="*/ 0 h 373134"/>
                <a:gd name="connsiteX3" fmla="*/ 0 w 410485"/>
                <a:gd name="connsiteY3" fmla="*/ 0 h 373134"/>
                <a:gd name="connsiteX4" fmla="*/ 0 w 410485"/>
                <a:gd name="connsiteY4" fmla="*/ 373135 h 373134"/>
                <a:gd name="connsiteX5" fmla="*/ 60702 w 410485"/>
                <a:gd name="connsiteY5" fmla="*/ 373135 h 373134"/>
                <a:gd name="connsiteX6" fmla="*/ 60702 w 410485"/>
                <a:gd name="connsiteY6" fmla="*/ 81917 h 373134"/>
                <a:gd name="connsiteX7" fmla="*/ 349262 w 410485"/>
                <a:gd name="connsiteY7" fmla="*/ 373135 h 373134"/>
                <a:gd name="connsiteX8" fmla="*/ 410486 w 410485"/>
                <a:gd name="connsiteY8" fmla="*/ 373135 h 373134"/>
                <a:gd name="connsiteX9" fmla="*/ 410486 w 410485"/>
                <a:gd name="connsiteY9" fmla="*/ 0 h 373134"/>
                <a:gd name="connsiteX10" fmla="*/ 349262 w 410485"/>
                <a:gd name="connsiteY10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485" h="373134">
                  <a:moveTo>
                    <a:pt x="349262" y="291598"/>
                  </a:moveTo>
                  <a:lnTo>
                    <a:pt x="60702" y="0"/>
                  </a:lnTo>
                  <a:lnTo>
                    <a:pt x="26388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60702" y="373135"/>
                  </a:lnTo>
                  <a:lnTo>
                    <a:pt x="60702" y="81917"/>
                  </a:lnTo>
                  <a:lnTo>
                    <a:pt x="349262" y="373135"/>
                  </a:lnTo>
                  <a:lnTo>
                    <a:pt x="410486" y="373135"/>
                  </a:lnTo>
                  <a:lnTo>
                    <a:pt x="410486" y="0"/>
                  </a:lnTo>
                  <a:lnTo>
                    <a:pt x="349262" y="0"/>
                  </a:lnTo>
                  <a:close/>
                </a:path>
              </a:pathLst>
            </a:custGeom>
            <a:solidFill>
              <a:schemeClr val="bg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100F770-E88D-4351-983E-F7B95197A7D1}"/>
                </a:ext>
              </a:extLst>
            </p:cNvPr>
            <p:cNvSpPr/>
            <p:nvPr/>
          </p:nvSpPr>
          <p:spPr bwMode="white">
            <a:xfrm>
              <a:off x="8863965" y="4927183"/>
              <a:ext cx="421876" cy="373134"/>
            </a:xfrm>
            <a:custGeom>
              <a:avLst/>
              <a:gdLst>
                <a:gd name="connsiteX0" fmla="*/ 355716 w 421876"/>
                <a:gd name="connsiteY0" fmla="*/ 0 h 373134"/>
                <a:gd name="connsiteX1" fmla="*/ 212955 w 421876"/>
                <a:gd name="connsiteY1" fmla="*/ 291598 h 373134"/>
                <a:gd name="connsiteX2" fmla="*/ 70146 w 421876"/>
                <a:gd name="connsiteY2" fmla="*/ 0 h 373134"/>
                <a:gd name="connsiteX3" fmla="*/ 0 w 421876"/>
                <a:gd name="connsiteY3" fmla="*/ 0 h 373134"/>
                <a:gd name="connsiteX4" fmla="*/ 187042 w 421876"/>
                <a:gd name="connsiteY4" fmla="*/ 373135 h 373134"/>
                <a:gd name="connsiteX5" fmla="*/ 235309 w 421876"/>
                <a:gd name="connsiteY5" fmla="*/ 373135 h 373134"/>
                <a:gd name="connsiteX6" fmla="*/ 421876 w 421876"/>
                <a:gd name="connsiteY6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876" h="373134">
                  <a:moveTo>
                    <a:pt x="355716" y="0"/>
                  </a:moveTo>
                  <a:lnTo>
                    <a:pt x="212955" y="291598"/>
                  </a:lnTo>
                  <a:lnTo>
                    <a:pt x="70146" y="0"/>
                  </a:lnTo>
                  <a:lnTo>
                    <a:pt x="0" y="0"/>
                  </a:lnTo>
                  <a:lnTo>
                    <a:pt x="187042" y="373135"/>
                  </a:lnTo>
                  <a:lnTo>
                    <a:pt x="235309" y="373135"/>
                  </a:lnTo>
                  <a:lnTo>
                    <a:pt x="421876" y="0"/>
                  </a:lnTo>
                  <a:close/>
                </a:path>
              </a:pathLst>
            </a:custGeom>
            <a:solidFill>
              <a:schemeClr val="bg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23" name="TAGLINE WHITE">
            <a:extLst>
              <a:ext uri="{FF2B5EF4-FFF2-40B4-BE49-F238E27FC236}">
                <a16:creationId xmlns:a16="http://schemas.microsoft.com/office/drawing/2014/main" id="{41DB66F5-46D4-4959-A143-077E1F7FE01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50400" y="539750"/>
            <a:ext cx="1702800" cy="1106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1730374"/>
            <a:ext cx="8290800" cy="1339453"/>
          </a:xfrm>
        </p:spPr>
        <p:txBody>
          <a:bodyPr anchor="b" anchorCtr="0">
            <a:noAutofit/>
          </a:bodyPr>
          <a:lstStyle>
            <a:lvl1pPr>
              <a:lnSpc>
                <a:spcPct val="83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3296628"/>
            <a:ext cx="8290800" cy="6372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83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24" name="SD_FLD_Draft" hidden="1">
            <a:extLst>
              <a:ext uri="{FF2B5EF4-FFF2-40B4-BE49-F238E27FC236}">
                <a16:creationId xmlns:a16="http://schemas.microsoft.com/office/drawing/2014/main" id="{E78AC084-F0D7-48FF-A5A0-62B259C3E63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00E98D3-1B1D-490D-90C3-F274802AC561}"/>
              </a:ext>
            </a:extLst>
          </p:cNvPr>
          <p:cNvSpPr txBox="1"/>
          <p:nvPr userDrawn="1"/>
        </p:nvSpPr>
        <p:spPr>
          <a:xfrm>
            <a:off x="540000" y="5879827"/>
            <a:ext cx="272754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400" b="1" cap="none" baseline="0" noProof="1">
                <a:solidFill>
                  <a:schemeClr val="bg1"/>
                </a:solidFill>
              </a:rPr>
              <a:t>www.dnv.com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298E8765-505F-453E-BC7E-D85D0B5D95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4836965"/>
            <a:ext cx="8291049" cy="360000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Email address</a:t>
            </a:r>
            <a:endParaRPr lang="en-GB" dirty="0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F1D187BC-8B38-417E-BA95-DF961274BE6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9751" y="5270701"/>
            <a:ext cx="8291049" cy="360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Telephone number</a:t>
            </a:r>
            <a:endParaRPr lang="en-GB" dirty="0"/>
          </a:p>
        </p:txBody>
      </p:sp>
      <p:sp>
        <p:nvSpPr>
          <p:cNvPr id="33" name="SD_FLD_Confidentiality">
            <a:extLst>
              <a:ext uri="{FF2B5EF4-FFF2-40B4-BE49-F238E27FC236}">
                <a16:creationId xmlns:a16="http://schemas.microsoft.com/office/drawing/2014/main" id="{E93E9BF8-0018-4174-8A59-3D40E3E27125}"/>
              </a:ext>
            </a:extLst>
          </p:cNvPr>
          <p:cNvSpPr/>
          <p:nvPr userDrawn="1"/>
        </p:nvSpPr>
        <p:spPr>
          <a:xfrm>
            <a:off x="7131600" y="6440400"/>
            <a:ext cx="2440800" cy="1512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GB" sz="700" b="0" kern="1200" cap="all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_SD_FLD_Copyright">
            <a:extLst>
              <a:ext uri="{FF2B5EF4-FFF2-40B4-BE49-F238E27FC236}">
                <a16:creationId xmlns:a16="http://schemas.microsoft.com/office/drawing/2014/main" id="{5FFB1009-CF3E-4E66-8E83-E3D7C3AAF07E}"/>
              </a:ext>
            </a:extLst>
          </p:cNvPr>
          <p:cNvSpPr txBox="1"/>
          <p:nvPr userDrawn="1"/>
        </p:nvSpPr>
        <p:spPr>
          <a:xfrm>
            <a:off x="818923" y="6449138"/>
            <a:ext cx="27892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noProof="0" dirty="0">
                <a:solidFill>
                  <a:schemeClr val="bg1"/>
                </a:solidFill>
              </a:rPr>
              <a:t>DNV ©</a:t>
            </a:r>
          </a:p>
        </p:txBody>
      </p:sp>
      <p:sp>
        <p:nvSpPr>
          <p:cNvPr id="32" name="Date Placeholder 9">
            <a:extLst>
              <a:ext uri="{FF2B5EF4-FFF2-40B4-BE49-F238E27FC236}">
                <a16:creationId xmlns:a16="http://schemas.microsoft.com/office/drawing/2014/main" id="{E033EE44-3925-4031-80E1-4B5614FB64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68587" y="6445820"/>
            <a:ext cx="107134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US"/>
              <a:t>Rev. 1.0</a:t>
            </a:r>
            <a:endParaRPr lang="de-DE" dirty="0"/>
          </a:p>
        </p:txBody>
      </p:sp>
      <p:sp>
        <p:nvSpPr>
          <p:cNvPr id="34" name="Footer Placeholder 11">
            <a:extLst>
              <a:ext uri="{FF2B5EF4-FFF2-40B4-BE49-F238E27FC236}">
                <a16:creationId xmlns:a16="http://schemas.microsoft.com/office/drawing/2014/main" id="{1B2087A9-0104-4874-A5DC-B752F65F9C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0596" y="6439418"/>
            <a:ext cx="6460204" cy="1174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700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35" name="Slide Number Placeholder 12">
            <a:extLst>
              <a:ext uri="{FF2B5EF4-FFF2-40B4-BE49-F238E27FC236}">
                <a16:creationId xmlns:a16="http://schemas.microsoft.com/office/drawing/2014/main" id="{C65B2126-9DC7-46AB-B54F-B10C1A834E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392" y="644740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700" smtClean="0">
                <a:solidFill>
                  <a:schemeClr val="bg1"/>
                </a:solidFill>
              </a:defRPr>
            </a:lvl1pPr>
          </a:lstStyle>
          <a:p>
            <a:fld id="{300F8F77-4347-4BF0-A9D7-4E51985595AC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148798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ast overskrift"/>
          <p:cNvSpPr txBox="1"/>
          <p:nvPr userDrawn="1"/>
        </p:nvSpPr>
        <p:spPr>
          <a:xfrm>
            <a:off x="539752" y="448713"/>
            <a:ext cx="11109321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sp>
        <p:nvSpPr>
          <p:cNvPr id="13" name="Text Box 2">
            <a:extLst>
              <a:ext uri="{FF2B5EF4-FFF2-40B4-BE49-F238E27FC236}">
                <a16:creationId xmlns:a16="http://schemas.microsoft.com/office/drawing/2014/main" id="{0BB3B459-CDFE-44C8-879C-511BDE5A64B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39752" y="1442790"/>
            <a:ext cx="2448000" cy="3662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TEXT STYLES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600" dirty="0">
                <a:latin typeface="+mn-lt"/>
                <a:cs typeface="Arial" panose="020B060402020202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</a:br>
            <a:r>
              <a:rPr lang="en-GB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to view a dropdown menu of possible slide layouts</a:t>
            </a:r>
            <a:endParaRPr lang="en-GB" sz="900" dirty="0">
              <a:latin typeface="+mn-lt"/>
              <a:ea typeface="Arial" panose="020B0604020202020204" pitchFamily="34" charset="0"/>
            </a:endParaRPr>
          </a:p>
        </p:txBody>
      </p:sp>
      <p:sp>
        <p:nvSpPr>
          <p:cNvPr id="14" name="Text Box 3">
            <a:extLst>
              <a:ext uri="{FF2B5EF4-FFF2-40B4-BE49-F238E27FC236}">
                <a16:creationId xmlns:a16="http://schemas.microsoft.com/office/drawing/2014/main" id="{66B3FBB4-61DE-493B-8F38-CB78E008D9B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98494" y="1442790"/>
            <a:ext cx="2448000" cy="2723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PICTURES</a:t>
            </a:r>
            <a:endParaRPr lang="en-GB" sz="16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</p:txBody>
      </p:sp>
      <p:sp>
        <p:nvSpPr>
          <p:cNvPr id="15" name="Text Box 4">
            <a:extLst>
              <a:ext uri="{FF2B5EF4-FFF2-40B4-BE49-F238E27FC236}">
                <a16:creationId xmlns:a16="http://schemas.microsoft.com/office/drawing/2014/main" id="{17EA80A0-F605-4897-AE2A-18933CAB6D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076214" y="1442790"/>
            <a:ext cx="2448000" cy="4662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HEADER &amp; FOOTER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, click date or page number from or to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1600" dirty="0">
                <a:latin typeface="+mn-lt"/>
                <a:cs typeface="Arial" panose="020B0604020202020204" pitchFamily="34" charset="0"/>
              </a:rPr>
              <a:t>GRIDLIN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900" b="1" i="0" u="sng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722642E-922E-4D3E-9481-C027E3A93CD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32727" y="4779904"/>
            <a:ext cx="475428" cy="17676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37E3D92-3923-49A5-9D66-A01D052984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901" t="45142" r="62601" b="9046"/>
          <a:stretch/>
        </p:blipFill>
        <p:spPr>
          <a:xfrm>
            <a:off x="6726550" y="1735179"/>
            <a:ext cx="341204" cy="321707"/>
          </a:xfrm>
          <a:prstGeom prst="rect">
            <a:avLst/>
          </a:prstGeom>
        </p:spPr>
      </p:pic>
      <p:pic>
        <p:nvPicPr>
          <p:cNvPr id="24" name="Picture 16">
            <a:extLst>
              <a:ext uri="{FF2B5EF4-FFF2-40B4-BE49-F238E27FC236}">
                <a16:creationId xmlns:a16="http://schemas.microsoft.com/office/drawing/2014/main" id="{EE4BD888-DAA9-4A3B-ADD9-0ACB9540A63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32727" y="3962909"/>
            <a:ext cx="328881" cy="505501"/>
          </a:xfrm>
          <a:prstGeom prst="rect">
            <a:avLst/>
          </a:prstGeom>
        </p:spPr>
      </p:pic>
      <p:pic>
        <p:nvPicPr>
          <p:cNvPr id="26" name="Picture 20">
            <a:extLst>
              <a:ext uri="{FF2B5EF4-FFF2-40B4-BE49-F238E27FC236}">
                <a16:creationId xmlns:a16="http://schemas.microsoft.com/office/drawing/2014/main" id="{ADF46DFB-ABDB-43BA-AD93-FDEE2D7642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35425" y="3229754"/>
            <a:ext cx="538465" cy="172841"/>
          </a:xfrm>
          <a:prstGeom prst="rect">
            <a:avLst/>
          </a:prstGeom>
        </p:spPr>
      </p:pic>
      <p:pic>
        <p:nvPicPr>
          <p:cNvPr id="27" name="Picture 19">
            <a:extLst>
              <a:ext uri="{FF2B5EF4-FFF2-40B4-BE49-F238E27FC236}">
                <a16:creationId xmlns:a16="http://schemas.microsoft.com/office/drawing/2014/main" id="{CF6F40E1-EF2A-4675-A88E-429AD3ADD34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802694" y="2453659"/>
            <a:ext cx="313788" cy="543900"/>
          </a:xfrm>
          <a:prstGeom prst="rect">
            <a:avLst/>
          </a:prstGeom>
        </p:spPr>
      </p:pic>
      <p:pic>
        <p:nvPicPr>
          <p:cNvPr id="18" name="Picture 12">
            <a:extLst>
              <a:ext uri="{FF2B5EF4-FFF2-40B4-BE49-F238E27FC236}">
                <a16:creationId xmlns:a16="http://schemas.microsoft.com/office/drawing/2014/main" id="{1EEB59ED-856C-4646-8080-8164D2973D0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717337" y="1980536"/>
            <a:ext cx="378293" cy="54336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18B3BD4-04BC-40A0-B801-FB79B0884023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932727" y="2518464"/>
            <a:ext cx="457143" cy="257143"/>
          </a:xfrm>
          <a:prstGeom prst="rect">
            <a:avLst/>
          </a:prstGeom>
        </p:spPr>
      </p:pic>
      <p:sp>
        <p:nvSpPr>
          <p:cNvPr id="17" name="Date Placeholder 9">
            <a:extLst>
              <a:ext uri="{FF2B5EF4-FFF2-40B4-BE49-F238E27FC236}">
                <a16:creationId xmlns:a16="http://schemas.microsoft.com/office/drawing/2014/main" id="{08BB1D31-AD01-43DA-8352-3B3FB92319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68587" y="6445820"/>
            <a:ext cx="107134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GB" sz="700" smtClean="0">
                <a:solidFill>
                  <a:schemeClr val="accent1"/>
                </a:solidFill>
              </a:defRPr>
            </a:lvl1pPr>
          </a:lstStyle>
          <a:p>
            <a:r>
              <a:rPr lang="en-US"/>
              <a:t>Rev. 1.0</a:t>
            </a:r>
            <a:endParaRPr lang="de-DE" dirty="0"/>
          </a:p>
        </p:txBody>
      </p:sp>
      <p:sp>
        <p:nvSpPr>
          <p:cNvPr id="20" name="Footer Placeholder 11">
            <a:extLst>
              <a:ext uri="{FF2B5EF4-FFF2-40B4-BE49-F238E27FC236}">
                <a16:creationId xmlns:a16="http://schemas.microsoft.com/office/drawing/2014/main" id="{B158818E-7A9A-48B4-B4B7-B4B9D41DE3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0596" y="6439418"/>
            <a:ext cx="834040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700" dirty="0">
                <a:solidFill>
                  <a:schemeClr val="accent1"/>
                </a:solidFill>
              </a:defRPr>
            </a:lvl1pPr>
          </a:lstStyle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21" name="Slide Number Placeholder 12">
            <a:extLst>
              <a:ext uri="{FF2B5EF4-FFF2-40B4-BE49-F238E27FC236}">
                <a16:creationId xmlns:a16="http://schemas.microsoft.com/office/drawing/2014/main" id="{B8929566-4F2B-4318-9AE4-B221FEE674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392" y="644740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700" smtClean="0">
                <a:solidFill>
                  <a:schemeClr val="accent1"/>
                </a:solidFill>
              </a:defRPr>
            </a:lvl1pPr>
          </a:lstStyle>
          <a:p>
            <a:fld id="{300F8F77-4347-4BF0-A9D7-4E51985595AC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87424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>
                <a:solidFill>
                  <a:schemeClr val="bg1"/>
                </a:solidFill>
              </a:rPr>
              <a:t>If you see any </a:t>
            </a:r>
            <a:r>
              <a:rPr lang="en-GB" sz="4400" b="1" i="1" noProof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>
                <a:solidFill>
                  <a:schemeClr val="bg1"/>
                </a:solidFill>
              </a:rPr>
              <a:t>one</a:t>
            </a:r>
            <a:r>
              <a:rPr lang="en-GB" sz="4400" b="1" i="1" noProof="0">
                <a:solidFill>
                  <a:schemeClr val="bg1"/>
                </a:solidFill>
              </a:rPr>
              <a:t>,</a:t>
            </a:r>
            <a:br>
              <a:rPr lang="en-GB" sz="4400" b="0" i="0" noProof="0">
                <a:solidFill>
                  <a:schemeClr val="bg1"/>
                </a:solidFill>
              </a:rPr>
            </a:br>
            <a:r>
              <a:rPr lang="en-GB" sz="4400" b="0" noProof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1" u="none" noProof="0">
                <a:solidFill>
                  <a:schemeClr val="bg1"/>
                </a:solidFill>
              </a:rPr>
              <a:t>are not </a:t>
            </a:r>
            <a:r>
              <a:rPr lang="en-GB" sz="4400" b="0" noProof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>
                <a:solidFill>
                  <a:schemeClr val="bg1"/>
                </a:solidFill>
              </a:rPr>
            </a:br>
            <a:br>
              <a:rPr lang="en-GB" sz="2800" b="0" noProof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>
                <a:solidFill>
                  <a:schemeClr val="bg1"/>
                </a:solidFill>
              </a:rPr>
              <a:t>Do not use </a:t>
            </a:r>
            <a:endParaRPr lang="en-GB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Rev. 1.0</a:t>
            </a:r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/>
              <a:t>Maritime Cyber Security</a:t>
            </a:r>
            <a:endParaRPr lang="en-GB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74500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65632BCD-D585-42E8-A6D3-3C06DC3313BD}"/>
              </a:ext>
            </a:extLst>
          </p:cNvPr>
          <p:cNvSpPr/>
          <p:nvPr userDrawn="1"/>
        </p:nvSpPr>
        <p:spPr bwMode="white">
          <a:xfrm>
            <a:off x="0" y="0"/>
            <a:ext cx="12192000" cy="68550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19" name="Logo">
            <a:extLst>
              <a:ext uri="{FF2B5EF4-FFF2-40B4-BE49-F238E27FC236}">
                <a16:creationId xmlns:a16="http://schemas.microsoft.com/office/drawing/2014/main" id="{38FB97ED-5A4B-484F-BA47-613177090BCB}"/>
              </a:ext>
            </a:extLst>
          </p:cNvPr>
          <p:cNvGrpSpPr>
            <a:grpSpLocks noChangeAspect="1"/>
          </p:cNvGrpSpPr>
          <p:nvPr userDrawn="1"/>
        </p:nvGrpSpPr>
        <p:grpSpPr bwMode="white">
          <a:xfrm>
            <a:off x="539750" y="540000"/>
            <a:ext cx="1702800" cy="727238"/>
            <a:chOff x="6380216" y="4059273"/>
            <a:chExt cx="2905863" cy="1241045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55DDA26-00FD-4EB4-98FC-C3CA907FBBFB}"/>
                </a:ext>
              </a:extLst>
            </p:cNvPr>
            <p:cNvSpPr/>
            <p:nvPr/>
          </p:nvSpPr>
          <p:spPr bwMode="white">
            <a:xfrm>
              <a:off x="6380216" y="4059273"/>
              <a:ext cx="2905863" cy="346936"/>
            </a:xfrm>
            <a:custGeom>
              <a:avLst/>
              <a:gdLst>
                <a:gd name="connsiteX0" fmla="*/ 0 w 2905863"/>
                <a:gd name="connsiteY0" fmla="*/ 0 h 346936"/>
                <a:gd name="connsiteX1" fmla="*/ 2905864 w 2905863"/>
                <a:gd name="connsiteY1" fmla="*/ 0 h 346936"/>
                <a:gd name="connsiteX2" fmla="*/ 2905864 w 2905863"/>
                <a:gd name="connsiteY2" fmla="*/ 346937 h 346936"/>
                <a:gd name="connsiteX3" fmla="*/ 0 w 2905863"/>
                <a:gd name="connsiteY3" fmla="*/ 346937 h 34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346936">
                  <a:moveTo>
                    <a:pt x="0" y="0"/>
                  </a:moveTo>
                  <a:lnTo>
                    <a:pt x="2905864" y="0"/>
                  </a:lnTo>
                  <a:lnTo>
                    <a:pt x="2905864" y="346937"/>
                  </a:lnTo>
                  <a:lnTo>
                    <a:pt x="0" y="346937"/>
                  </a:lnTo>
                  <a:close/>
                </a:path>
              </a:pathLst>
            </a:custGeom>
            <a:solidFill>
              <a:schemeClr val="bg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24CB032C-9E7C-4EB0-A639-A1F06C45D200}"/>
                </a:ext>
              </a:extLst>
            </p:cNvPr>
            <p:cNvSpPr/>
            <p:nvPr/>
          </p:nvSpPr>
          <p:spPr bwMode="white">
            <a:xfrm>
              <a:off x="6380216" y="4521775"/>
              <a:ext cx="2905863" cy="57854"/>
            </a:xfrm>
            <a:custGeom>
              <a:avLst/>
              <a:gdLst>
                <a:gd name="connsiteX0" fmla="*/ 0 w 2905863"/>
                <a:gd name="connsiteY0" fmla="*/ 0 h 57854"/>
                <a:gd name="connsiteX1" fmla="*/ 2905864 w 2905863"/>
                <a:gd name="connsiteY1" fmla="*/ 0 h 57854"/>
                <a:gd name="connsiteX2" fmla="*/ 2905864 w 2905863"/>
                <a:gd name="connsiteY2" fmla="*/ 57854 h 57854"/>
                <a:gd name="connsiteX3" fmla="*/ 0 w 2905863"/>
                <a:gd name="connsiteY3" fmla="*/ 57854 h 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57854">
                  <a:moveTo>
                    <a:pt x="0" y="0"/>
                  </a:moveTo>
                  <a:lnTo>
                    <a:pt x="2905864" y="0"/>
                  </a:lnTo>
                  <a:lnTo>
                    <a:pt x="2905864" y="57854"/>
                  </a:lnTo>
                  <a:lnTo>
                    <a:pt x="0" y="57854"/>
                  </a:lnTo>
                  <a:close/>
                </a:path>
              </a:pathLst>
            </a:custGeom>
            <a:solidFill>
              <a:schemeClr val="bg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B7DD5104-FF83-40C7-AA43-C17183E0159B}"/>
                </a:ext>
              </a:extLst>
            </p:cNvPr>
            <p:cNvSpPr/>
            <p:nvPr/>
          </p:nvSpPr>
          <p:spPr bwMode="white">
            <a:xfrm>
              <a:off x="6380216" y="4637294"/>
              <a:ext cx="2905863" cy="115566"/>
            </a:xfrm>
            <a:custGeom>
              <a:avLst/>
              <a:gdLst>
                <a:gd name="connsiteX0" fmla="*/ 0 w 2905863"/>
                <a:gd name="connsiteY0" fmla="*/ 0 h 115566"/>
                <a:gd name="connsiteX1" fmla="*/ 2905864 w 2905863"/>
                <a:gd name="connsiteY1" fmla="*/ 0 h 115566"/>
                <a:gd name="connsiteX2" fmla="*/ 2905864 w 2905863"/>
                <a:gd name="connsiteY2" fmla="*/ 115566 h 115566"/>
                <a:gd name="connsiteX3" fmla="*/ 0 w 2905863"/>
                <a:gd name="connsiteY3" fmla="*/ 115566 h 115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115566">
                  <a:moveTo>
                    <a:pt x="0" y="0"/>
                  </a:moveTo>
                  <a:lnTo>
                    <a:pt x="2905864" y="0"/>
                  </a:lnTo>
                  <a:lnTo>
                    <a:pt x="2905864" y="115566"/>
                  </a:lnTo>
                  <a:lnTo>
                    <a:pt x="0" y="115566"/>
                  </a:lnTo>
                  <a:close/>
                </a:path>
              </a:pathLst>
            </a:custGeom>
            <a:solidFill>
              <a:schemeClr val="bg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E483200-DEA7-441E-B11A-6554B16BE995}"/>
                </a:ext>
              </a:extLst>
            </p:cNvPr>
            <p:cNvSpPr/>
            <p:nvPr/>
          </p:nvSpPr>
          <p:spPr bwMode="white">
            <a:xfrm>
              <a:off x="7833598" y="4927183"/>
              <a:ext cx="392545" cy="373134"/>
            </a:xfrm>
            <a:custGeom>
              <a:avLst/>
              <a:gdLst>
                <a:gd name="connsiteX0" fmla="*/ 303984 w 392545"/>
                <a:gd name="connsiteY0" fmla="*/ 19174 h 373134"/>
                <a:gd name="connsiteX1" fmla="*/ 201992 w 392545"/>
                <a:gd name="connsiteY1" fmla="*/ 0 h 373134"/>
                <a:gd name="connsiteX2" fmla="*/ 62173 w 392545"/>
                <a:gd name="connsiteY2" fmla="*/ 0 h 373134"/>
                <a:gd name="connsiteX3" fmla="*/ 27859 w 392545"/>
                <a:gd name="connsiteY3" fmla="*/ 0 h 373134"/>
                <a:gd name="connsiteX4" fmla="*/ 0 w 392545"/>
                <a:gd name="connsiteY4" fmla="*/ 0 h 373134"/>
                <a:gd name="connsiteX5" fmla="*/ 0 w 392545"/>
                <a:gd name="connsiteY5" fmla="*/ 373135 h 373134"/>
                <a:gd name="connsiteX6" fmla="*/ 27859 w 392545"/>
                <a:gd name="connsiteY6" fmla="*/ 373135 h 373134"/>
                <a:gd name="connsiteX7" fmla="*/ 62173 w 392545"/>
                <a:gd name="connsiteY7" fmla="*/ 373135 h 373134"/>
                <a:gd name="connsiteX8" fmla="*/ 201992 w 392545"/>
                <a:gd name="connsiteY8" fmla="*/ 373135 h 373134"/>
                <a:gd name="connsiteX9" fmla="*/ 303984 w 392545"/>
                <a:gd name="connsiteY9" fmla="*/ 353961 h 373134"/>
                <a:gd name="connsiteX10" fmla="*/ 369670 w 392545"/>
                <a:gd name="connsiteY10" fmla="*/ 296249 h 373134"/>
                <a:gd name="connsiteX11" fmla="*/ 392546 w 392545"/>
                <a:gd name="connsiteY11" fmla="*/ 199477 h 373134"/>
                <a:gd name="connsiteX12" fmla="*/ 392546 w 392545"/>
                <a:gd name="connsiteY12" fmla="*/ 173611 h 373134"/>
                <a:gd name="connsiteX13" fmla="*/ 369670 w 392545"/>
                <a:gd name="connsiteY13" fmla="*/ 76839 h 373134"/>
                <a:gd name="connsiteX14" fmla="*/ 303984 w 392545"/>
                <a:gd name="connsiteY14" fmla="*/ 19174 h 373134"/>
                <a:gd name="connsiteX15" fmla="*/ 331369 w 392545"/>
                <a:gd name="connsiteY15" fmla="*/ 197531 h 373134"/>
                <a:gd name="connsiteX16" fmla="*/ 299048 w 392545"/>
                <a:gd name="connsiteY16" fmla="*/ 287563 h 373134"/>
                <a:gd name="connsiteX17" fmla="*/ 202514 w 392545"/>
                <a:gd name="connsiteY17" fmla="*/ 316894 h 373134"/>
                <a:gd name="connsiteX18" fmla="*/ 62221 w 392545"/>
                <a:gd name="connsiteY18" fmla="*/ 316894 h 373134"/>
                <a:gd name="connsiteX19" fmla="*/ 62221 w 392545"/>
                <a:gd name="connsiteY19" fmla="*/ 56193 h 373134"/>
                <a:gd name="connsiteX20" fmla="*/ 202514 w 392545"/>
                <a:gd name="connsiteY20" fmla="*/ 56193 h 373134"/>
                <a:gd name="connsiteX21" fmla="*/ 299048 w 392545"/>
                <a:gd name="connsiteY21" fmla="*/ 84812 h 373134"/>
                <a:gd name="connsiteX22" fmla="*/ 331369 w 392545"/>
                <a:gd name="connsiteY22" fmla="*/ 175604 h 373134"/>
                <a:gd name="connsiteX23" fmla="*/ 331369 w 392545"/>
                <a:gd name="connsiteY23" fmla="*/ 197531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2545" h="373134">
                  <a:moveTo>
                    <a:pt x="303984" y="19174"/>
                  </a:moveTo>
                  <a:cubicBezTo>
                    <a:pt x="275461" y="6407"/>
                    <a:pt x="241479" y="0"/>
                    <a:pt x="201992" y="0"/>
                  </a:cubicBezTo>
                  <a:lnTo>
                    <a:pt x="62173" y="0"/>
                  </a:lnTo>
                  <a:lnTo>
                    <a:pt x="27859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27859" y="373135"/>
                  </a:lnTo>
                  <a:lnTo>
                    <a:pt x="62173" y="373135"/>
                  </a:lnTo>
                  <a:lnTo>
                    <a:pt x="201992" y="373135"/>
                  </a:lnTo>
                  <a:cubicBezTo>
                    <a:pt x="241479" y="373135"/>
                    <a:pt x="275461" y="366728"/>
                    <a:pt x="303984" y="353961"/>
                  </a:cubicBezTo>
                  <a:cubicBezTo>
                    <a:pt x="332508" y="341194"/>
                    <a:pt x="354387" y="321972"/>
                    <a:pt x="369670" y="296249"/>
                  </a:cubicBezTo>
                  <a:cubicBezTo>
                    <a:pt x="384904" y="270525"/>
                    <a:pt x="392546" y="238299"/>
                    <a:pt x="392546" y="199477"/>
                  </a:cubicBezTo>
                  <a:lnTo>
                    <a:pt x="392546" y="173611"/>
                  </a:lnTo>
                  <a:cubicBezTo>
                    <a:pt x="392546" y="134788"/>
                    <a:pt x="384904" y="102562"/>
                    <a:pt x="369670" y="76839"/>
                  </a:cubicBezTo>
                  <a:cubicBezTo>
                    <a:pt x="354387" y="51162"/>
                    <a:pt x="332508" y="31941"/>
                    <a:pt x="303984" y="19174"/>
                  </a:cubicBezTo>
                  <a:close/>
                  <a:moveTo>
                    <a:pt x="331369" y="197531"/>
                  </a:moveTo>
                  <a:cubicBezTo>
                    <a:pt x="331369" y="238015"/>
                    <a:pt x="320596" y="268010"/>
                    <a:pt x="299048" y="287563"/>
                  </a:cubicBezTo>
                  <a:cubicBezTo>
                    <a:pt x="277502" y="307117"/>
                    <a:pt x="245323" y="316894"/>
                    <a:pt x="202514" y="316894"/>
                  </a:cubicBezTo>
                  <a:lnTo>
                    <a:pt x="62221" y="316894"/>
                  </a:lnTo>
                  <a:lnTo>
                    <a:pt x="62221" y="56193"/>
                  </a:lnTo>
                  <a:lnTo>
                    <a:pt x="202514" y="56193"/>
                  </a:lnTo>
                  <a:cubicBezTo>
                    <a:pt x="245323" y="56193"/>
                    <a:pt x="277454" y="65733"/>
                    <a:pt x="299048" y="84812"/>
                  </a:cubicBezTo>
                  <a:cubicBezTo>
                    <a:pt x="320596" y="103891"/>
                    <a:pt x="331369" y="134171"/>
                    <a:pt x="331369" y="175604"/>
                  </a:cubicBezTo>
                  <a:lnTo>
                    <a:pt x="331369" y="197531"/>
                  </a:lnTo>
                  <a:close/>
                </a:path>
              </a:pathLst>
            </a:custGeom>
            <a:solidFill>
              <a:schemeClr val="bg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533B82D2-D994-4BA1-81E5-F06092A32375}"/>
                </a:ext>
              </a:extLst>
            </p:cNvPr>
            <p:cNvSpPr/>
            <p:nvPr/>
          </p:nvSpPr>
          <p:spPr bwMode="white">
            <a:xfrm>
              <a:off x="8344036" y="4927183"/>
              <a:ext cx="410485" cy="373134"/>
            </a:xfrm>
            <a:custGeom>
              <a:avLst/>
              <a:gdLst>
                <a:gd name="connsiteX0" fmla="*/ 349262 w 410485"/>
                <a:gd name="connsiteY0" fmla="*/ 291598 h 373134"/>
                <a:gd name="connsiteX1" fmla="*/ 60702 w 410485"/>
                <a:gd name="connsiteY1" fmla="*/ 0 h 373134"/>
                <a:gd name="connsiteX2" fmla="*/ 26388 w 410485"/>
                <a:gd name="connsiteY2" fmla="*/ 0 h 373134"/>
                <a:gd name="connsiteX3" fmla="*/ 0 w 410485"/>
                <a:gd name="connsiteY3" fmla="*/ 0 h 373134"/>
                <a:gd name="connsiteX4" fmla="*/ 0 w 410485"/>
                <a:gd name="connsiteY4" fmla="*/ 373135 h 373134"/>
                <a:gd name="connsiteX5" fmla="*/ 60702 w 410485"/>
                <a:gd name="connsiteY5" fmla="*/ 373135 h 373134"/>
                <a:gd name="connsiteX6" fmla="*/ 60702 w 410485"/>
                <a:gd name="connsiteY6" fmla="*/ 81917 h 373134"/>
                <a:gd name="connsiteX7" fmla="*/ 349262 w 410485"/>
                <a:gd name="connsiteY7" fmla="*/ 373135 h 373134"/>
                <a:gd name="connsiteX8" fmla="*/ 410486 w 410485"/>
                <a:gd name="connsiteY8" fmla="*/ 373135 h 373134"/>
                <a:gd name="connsiteX9" fmla="*/ 410486 w 410485"/>
                <a:gd name="connsiteY9" fmla="*/ 0 h 373134"/>
                <a:gd name="connsiteX10" fmla="*/ 349262 w 410485"/>
                <a:gd name="connsiteY10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485" h="373134">
                  <a:moveTo>
                    <a:pt x="349262" y="291598"/>
                  </a:moveTo>
                  <a:lnTo>
                    <a:pt x="60702" y="0"/>
                  </a:lnTo>
                  <a:lnTo>
                    <a:pt x="26388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60702" y="373135"/>
                  </a:lnTo>
                  <a:lnTo>
                    <a:pt x="60702" y="81917"/>
                  </a:lnTo>
                  <a:lnTo>
                    <a:pt x="349262" y="373135"/>
                  </a:lnTo>
                  <a:lnTo>
                    <a:pt x="410486" y="373135"/>
                  </a:lnTo>
                  <a:lnTo>
                    <a:pt x="410486" y="0"/>
                  </a:lnTo>
                  <a:lnTo>
                    <a:pt x="349262" y="0"/>
                  </a:lnTo>
                  <a:close/>
                </a:path>
              </a:pathLst>
            </a:custGeom>
            <a:solidFill>
              <a:schemeClr val="bg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CD107E4C-634D-4DED-A03F-46DF1723185F}"/>
                </a:ext>
              </a:extLst>
            </p:cNvPr>
            <p:cNvSpPr/>
            <p:nvPr/>
          </p:nvSpPr>
          <p:spPr bwMode="white">
            <a:xfrm>
              <a:off x="8863965" y="4927183"/>
              <a:ext cx="421876" cy="373134"/>
            </a:xfrm>
            <a:custGeom>
              <a:avLst/>
              <a:gdLst>
                <a:gd name="connsiteX0" fmla="*/ 355716 w 421876"/>
                <a:gd name="connsiteY0" fmla="*/ 0 h 373134"/>
                <a:gd name="connsiteX1" fmla="*/ 212955 w 421876"/>
                <a:gd name="connsiteY1" fmla="*/ 291598 h 373134"/>
                <a:gd name="connsiteX2" fmla="*/ 70146 w 421876"/>
                <a:gd name="connsiteY2" fmla="*/ 0 h 373134"/>
                <a:gd name="connsiteX3" fmla="*/ 0 w 421876"/>
                <a:gd name="connsiteY3" fmla="*/ 0 h 373134"/>
                <a:gd name="connsiteX4" fmla="*/ 187042 w 421876"/>
                <a:gd name="connsiteY4" fmla="*/ 373135 h 373134"/>
                <a:gd name="connsiteX5" fmla="*/ 235309 w 421876"/>
                <a:gd name="connsiteY5" fmla="*/ 373135 h 373134"/>
                <a:gd name="connsiteX6" fmla="*/ 421876 w 421876"/>
                <a:gd name="connsiteY6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876" h="373134">
                  <a:moveTo>
                    <a:pt x="355716" y="0"/>
                  </a:moveTo>
                  <a:lnTo>
                    <a:pt x="212955" y="291598"/>
                  </a:lnTo>
                  <a:lnTo>
                    <a:pt x="70146" y="0"/>
                  </a:lnTo>
                  <a:lnTo>
                    <a:pt x="0" y="0"/>
                  </a:lnTo>
                  <a:lnTo>
                    <a:pt x="187042" y="373135"/>
                  </a:lnTo>
                  <a:lnTo>
                    <a:pt x="235309" y="373135"/>
                  </a:lnTo>
                  <a:lnTo>
                    <a:pt x="421876" y="0"/>
                  </a:lnTo>
                  <a:close/>
                </a:path>
              </a:pathLst>
            </a:custGeom>
            <a:solidFill>
              <a:schemeClr val="bg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41" name="TAGLINE WHITE">
            <a:extLst>
              <a:ext uri="{FF2B5EF4-FFF2-40B4-BE49-F238E27FC236}">
                <a16:creationId xmlns:a16="http://schemas.microsoft.com/office/drawing/2014/main" id="{A98F511B-B3B4-46F3-ACF7-28F2D6378C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0400" y="539750"/>
            <a:ext cx="1702800" cy="1106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9751" y="1730375"/>
            <a:ext cx="8290798" cy="2985625"/>
          </a:xfrm>
        </p:spPr>
        <p:txBody>
          <a:bodyPr anchor="b" anchorCtr="0">
            <a:noAutofit/>
          </a:bodyPr>
          <a:lstStyle>
            <a:lvl1pPr algn="l">
              <a:lnSpc>
                <a:spcPct val="83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0000" y="4946400"/>
            <a:ext cx="8290798" cy="648072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ts val="0"/>
              </a:spcBef>
              <a:buNone/>
              <a:defRPr lang="en-US" sz="2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add sub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2D590D-63DF-49A5-B495-2B2E9EA7D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9748" y="5768975"/>
            <a:ext cx="8291049" cy="277813"/>
          </a:xfrm>
        </p:spPr>
        <p:txBody>
          <a:bodyPr anchor="b" anchorCtr="0"/>
          <a:lstStyle>
            <a:lvl1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2pPr>
            <a:lvl3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3pPr>
            <a:lvl4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4pPr>
            <a:lvl5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5pPr>
          </a:lstStyle>
          <a:p>
            <a:pPr lvl="0"/>
            <a:r>
              <a:rPr lang="en-GB"/>
              <a:t>Click to add name, title etc..</a:t>
            </a:r>
            <a:endParaRPr lang="en-GB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v. 1.0</a:t>
            </a:r>
            <a:endParaRPr lang="en-GB" dirty="0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>
                <a:noFill/>
              </a:rPr>
              <a:t>Maritime Cyber Security</a:t>
            </a:r>
            <a:endParaRPr lang="en-GB" dirty="0">
              <a:noFill/>
            </a:endParaRPr>
          </a:p>
        </p:txBody>
      </p:sp>
      <p:sp>
        <p:nvSpPr>
          <p:cNvPr id="25" name="Slide Number Placeholder 24"/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sz="100" dirty="0"/>
          </a:p>
        </p:txBody>
      </p:sp>
      <p:sp>
        <p:nvSpPr>
          <p:cNvPr id="40" name="SD_FLD_DocumentDate">
            <a:extLst>
              <a:ext uri="{FF2B5EF4-FFF2-40B4-BE49-F238E27FC236}">
                <a16:creationId xmlns:a16="http://schemas.microsoft.com/office/drawing/2014/main" id="{7E2B10C4-BD8D-4AE7-9B25-DFBE307FFE4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40001" y="6161675"/>
            <a:ext cx="8290796" cy="181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l">
              <a:lnSpc>
                <a:spcPct val="83000"/>
              </a:lnSpc>
              <a:spcBef>
                <a:spcPts val="0"/>
              </a:spcBef>
            </a:pPr>
            <a:endParaRPr lang="en-GB" altLang="ja-JP" sz="1400" cap="none" baseline="0" dirty="0">
              <a:solidFill>
                <a:schemeClr val="bg1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9" name="_SD_FLD_DocumentNumber"/>
          <p:cNvSpPr txBox="1">
            <a:spLocks noChangeArrowheads="1"/>
          </p:cNvSpPr>
          <p:nvPr userDrawn="1"/>
        </p:nvSpPr>
        <p:spPr bwMode="auto">
          <a:xfrm>
            <a:off x="540001" y="6440400"/>
            <a:ext cx="1701550" cy="151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l">
              <a:spcBef>
                <a:spcPts val="0"/>
              </a:spcBef>
            </a:pPr>
            <a:endParaRPr lang="en-GB" altLang="ja-JP" sz="700" dirty="0">
              <a:solidFill>
                <a:schemeClr val="bg1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2" name="SD_FLD_Draft" hidden="1">
            <a:extLst>
              <a:ext uri="{FF2B5EF4-FFF2-40B4-BE49-F238E27FC236}">
                <a16:creationId xmlns:a16="http://schemas.microsoft.com/office/drawing/2014/main" id="{D3B7CDF1-E10F-4E39-9E5D-AE11897E4C1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21" name="SD_FLD_Confidentiality">
            <a:extLst>
              <a:ext uri="{FF2B5EF4-FFF2-40B4-BE49-F238E27FC236}">
                <a16:creationId xmlns:a16="http://schemas.microsoft.com/office/drawing/2014/main" id="{B504DBE6-F10B-43A3-A35B-E9AA5F4CDC43}"/>
              </a:ext>
            </a:extLst>
          </p:cNvPr>
          <p:cNvSpPr/>
          <p:nvPr userDrawn="1"/>
        </p:nvSpPr>
        <p:spPr>
          <a:xfrm>
            <a:off x="7131600" y="6440400"/>
            <a:ext cx="2440800" cy="1512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GB" sz="700" b="0" kern="1200" cap="all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487804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a-DK" dirty="0"/>
          </a:p>
        </p:txBody>
      </p:sp>
      <p:sp>
        <p:nvSpPr>
          <p:cNvPr id="7" name="Text Box 28"/>
          <p:cNvSpPr txBox="1">
            <a:spLocks noChangeArrowheads="1"/>
          </p:cNvSpPr>
          <p:nvPr userDrawn="1"/>
        </p:nvSpPr>
        <p:spPr bwMode="auto">
          <a:xfrm>
            <a:off x="-2640970" y="1268413"/>
            <a:ext cx="2516087" cy="900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</a:rPr>
              <a:t>Make subheader</a:t>
            </a:r>
            <a:br>
              <a:rPr lang="en-GB" sz="900" b="1" noProof="1">
                <a:solidFill>
                  <a:schemeClr val="tx1"/>
                </a:solidFill>
                <a:latin typeface="+mn-lt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</a:rPr>
              <a:t>1. After inserting all bullet </a:t>
            </a:r>
            <a:br>
              <a:rPr lang="en-GB" sz="900" noProof="1">
                <a:solidFill>
                  <a:schemeClr val="tx1"/>
                </a:solidFill>
                <a:latin typeface="+mn-lt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</a:rPr>
              <a:t>text on the slide, select </a:t>
            </a:r>
            <a:br>
              <a:rPr lang="en-GB" sz="900" noProof="1">
                <a:solidFill>
                  <a:schemeClr val="tx1"/>
                </a:solidFill>
                <a:latin typeface="+mn-lt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</a:rPr>
              <a:t>the text for subheader</a:t>
            </a:r>
          </a:p>
          <a:p>
            <a:pPr algn="r" eaLnBrk="1" hangingPunct="1">
              <a:spcBef>
                <a:spcPct val="50000"/>
              </a:spcBef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</a:rPr>
              <a:t>2. Click on bullet button from topmenu</a:t>
            </a:r>
            <a:r>
              <a:rPr lang="en-GB" sz="900" baseline="0" noProof="1">
                <a:solidFill>
                  <a:schemeClr val="tx1"/>
                </a:solidFill>
                <a:latin typeface="+mn-lt"/>
              </a:rPr>
              <a:t> and make the text Bold</a:t>
            </a:r>
            <a:endParaRPr lang="en-GB" sz="900" noProof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4431" y="6517926"/>
            <a:ext cx="110608" cy="10772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5BA07366-CB75-4AA8-9E5B-928B849F427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2135402" y="6494385"/>
            <a:ext cx="420189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GB" sz="700" dirty="0"/>
            </a:lvl1pPr>
          </a:lstStyle>
          <a:p>
            <a:r>
              <a:rPr lang="en-US"/>
              <a:t>Rev. 1.0</a:t>
            </a:r>
            <a:endParaRPr lang="de-DE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1733" y="6122764"/>
            <a:ext cx="3985371" cy="1154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50" b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Maritime Cyber Security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40294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33" y="1268761"/>
            <a:ext cx="8593667" cy="1298228"/>
          </a:xfrm>
        </p:spPr>
        <p:txBody>
          <a:bodyPr anchor="t">
            <a:noAutofit/>
          </a:bodyPr>
          <a:lstStyle>
            <a:lvl1pPr algn="l">
              <a:defRPr sz="24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333333"/>
                </a:solidFill>
              </a:rPr>
              <a:t>Rev. 1.0</a:t>
            </a:r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333333"/>
                </a:solidFill>
              </a:rPr>
              <a:t>Maritime Cyber Security</a:t>
            </a:r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>
                <a:solidFill>
                  <a:srgbClr val="333333"/>
                </a:solidFill>
              </a:rPr>
              <a:pPr/>
              <a:t>‹#›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5907600"/>
            <a:ext cx="11856000" cy="215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rgbClr val="FFFFFF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699" y="1"/>
            <a:ext cx="12204700" cy="6191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67976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Two content with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433" y="972000"/>
            <a:ext cx="5657852" cy="572400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4436" y="1620001"/>
            <a:ext cx="5657849" cy="4372813"/>
          </a:xfrm>
        </p:spPr>
        <p:txBody>
          <a:bodyPr>
            <a:noAutofit/>
          </a:bodyPr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9717" y="970248"/>
            <a:ext cx="5656923" cy="572312"/>
          </a:xfrm>
        </p:spPr>
        <p:txBody>
          <a:bodyPr anchor="b">
            <a:no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9717" y="1618861"/>
            <a:ext cx="5656924" cy="4373952"/>
          </a:xfrm>
        </p:spPr>
        <p:txBody>
          <a:bodyPr>
            <a:noAutofit/>
          </a:bodyPr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Rev. 1.0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aritime Cyber Security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00633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6">
            <a:extLst>
              <a:ext uri="{FF2B5EF4-FFF2-40B4-BE49-F238E27FC236}">
                <a16:creationId xmlns:a16="http://schemas.microsoft.com/office/drawing/2014/main" id="{D3FC6E7E-89CA-46DA-AF2B-1DE15125ED58}"/>
              </a:ext>
            </a:extLst>
          </p:cNvPr>
          <p:cNvSpPr>
            <a:spLocks noGrp="1"/>
          </p:cNvSpPr>
          <p:nvPr>
            <p:ph sz="half" idx="4294967295" hasCustomPrompt="1"/>
          </p:nvPr>
        </p:nvSpPr>
        <p:spPr>
          <a:xfrm>
            <a:off x="838200" y="1825625"/>
            <a:ext cx="5181600" cy="39048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42900" indent="-342900">
              <a:buFont typeface="Arial" panose="020B0604020202020204" pitchFamily="34" charset="0"/>
              <a:buChar char="•"/>
              <a:defRPr sz="16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MY" sz="2000" dirty="0"/>
              <a:t>Lorem ipsum </a:t>
            </a:r>
            <a:r>
              <a:rPr lang="en-MY" sz="2000" dirty="0" err="1"/>
              <a:t>dolor</a:t>
            </a:r>
            <a:r>
              <a:rPr lang="en-MY" sz="2000" dirty="0"/>
              <a:t> sit </a:t>
            </a:r>
            <a:r>
              <a:rPr lang="en-MY" sz="2000" dirty="0" err="1"/>
              <a:t>amet</a:t>
            </a:r>
            <a:r>
              <a:rPr lang="en-MY" sz="2000" dirty="0"/>
              <a:t>, </a:t>
            </a:r>
            <a:r>
              <a:rPr lang="en-MY" sz="2000" dirty="0" err="1"/>
              <a:t>consectetur</a:t>
            </a:r>
            <a:r>
              <a:rPr lang="en-MY" sz="2000" dirty="0"/>
              <a:t> </a:t>
            </a:r>
            <a:r>
              <a:rPr lang="en-MY" sz="2000" dirty="0" err="1"/>
              <a:t>adipiscing</a:t>
            </a:r>
            <a:r>
              <a:rPr lang="en-MY" sz="2000" dirty="0"/>
              <a:t> </a:t>
            </a:r>
            <a:r>
              <a:rPr lang="en-MY" sz="2000" dirty="0" err="1"/>
              <a:t>elit</a:t>
            </a:r>
            <a:r>
              <a:rPr lang="en-MY" sz="2000" dirty="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dirty="0" err="1"/>
              <a:t>Vivamus</a:t>
            </a:r>
            <a:r>
              <a:rPr lang="fr-FR" sz="2000" dirty="0"/>
              <a:t> </a:t>
            </a:r>
            <a:r>
              <a:rPr lang="fr-FR" sz="2000" dirty="0" err="1"/>
              <a:t>eget</a:t>
            </a:r>
            <a:r>
              <a:rPr lang="fr-FR" sz="2000" dirty="0"/>
              <a:t> </a:t>
            </a:r>
            <a:r>
              <a:rPr lang="fr-FR" sz="2000" dirty="0" err="1"/>
              <a:t>volutpat</a:t>
            </a:r>
            <a:r>
              <a:rPr lang="fr-FR" sz="2000" dirty="0"/>
              <a:t> </a:t>
            </a:r>
            <a:r>
              <a:rPr lang="fr-FR" sz="2000" dirty="0" err="1"/>
              <a:t>risus</a:t>
            </a:r>
            <a:r>
              <a:rPr lang="fr-FR" sz="2000" dirty="0"/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dirty="0"/>
              <a:t>Duis </a:t>
            </a:r>
            <a:r>
              <a:rPr lang="fr-FR" sz="2000" dirty="0" err="1"/>
              <a:t>convallis</a:t>
            </a:r>
            <a:r>
              <a:rPr lang="fr-FR" sz="2000" dirty="0"/>
              <a:t>. </a:t>
            </a:r>
            <a:r>
              <a:rPr lang="fr-FR" sz="2000" dirty="0" err="1"/>
              <a:t>fermentum</a:t>
            </a:r>
            <a:r>
              <a:rPr lang="fr-FR" sz="2000" dirty="0"/>
              <a:t> </a:t>
            </a:r>
            <a:r>
              <a:rPr lang="fr-FR" sz="2000" dirty="0" err="1"/>
              <a:t>sollicitudin</a:t>
            </a:r>
            <a:r>
              <a:rPr lang="fr-FR" sz="2000" dirty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dirty="0" err="1"/>
              <a:t>Maecenas</a:t>
            </a:r>
            <a:r>
              <a:rPr lang="fr-FR" sz="2000" dirty="0"/>
              <a:t> libero </a:t>
            </a:r>
            <a:r>
              <a:rPr lang="fr-FR" sz="2000" dirty="0" err="1"/>
              <a:t>elit</a:t>
            </a:r>
            <a:r>
              <a:rPr lang="fr-FR" sz="2000" dirty="0"/>
              <a:t>, </a:t>
            </a:r>
            <a:r>
              <a:rPr lang="fr-FR" sz="2000" dirty="0" err="1"/>
              <a:t>lacinia</a:t>
            </a:r>
            <a:r>
              <a:rPr lang="fr-FR" sz="2000" dirty="0"/>
              <a:t> </a:t>
            </a:r>
            <a:r>
              <a:rPr lang="fr-FR" sz="2000" dirty="0" err="1"/>
              <a:t>quis</a:t>
            </a:r>
            <a:r>
              <a:rPr lang="fr-FR" sz="2000" dirty="0"/>
              <a:t> </a:t>
            </a:r>
            <a:r>
              <a:rPr lang="fr-FR" sz="2000" dirty="0" err="1"/>
              <a:t>nisi</a:t>
            </a:r>
            <a:r>
              <a:rPr lang="fr-FR" sz="2000" dirty="0"/>
              <a:t> non, </a:t>
            </a:r>
            <a:r>
              <a:rPr lang="fr-FR" sz="2000" dirty="0" err="1"/>
              <a:t>aliquam</a:t>
            </a:r>
            <a:r>
              <a:rPr lang="fr-FR" sz="2000" dirty="0"/>
              <a:t> </a:t>
            </a:r>
            <a:r>
              <a:rPr lang="fr-FR" sz="2000" dirty="0" err="1"/>
              <a:t>ullamcorper</a:t>
            </a:r>
            <a:r>
              <a:rPr lang="fr-FR" sz="2000" dirty="0"/>
              <a:t> </a:t>
            </a:r>
            <a:r>
              <a:rPr lang="fr-FR" sz="2000" dirty="0" err="1"/>
              <a:t>arcu</a:t>
            </a:r>
            <a:r>
              <a:rPr lang="fr-FR" sz="2000" dirty="0"/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dirty="0"/>
              <a:t>Sed </a:t>
            </a:r>
            <a:r>
              <a:rPr lang="fr-FR" sz="2000" dirty="0" err="1"/>
              <a:t>fermentum</a:t>
            </a:r>
            <a:r>
              <a:rPr lang="fr-FR" sz="2000" dirty="0"/>
              <a:t> est </a:t>
            </a:r>
            <a:r>
              <a:rPr lang="fr-FR" sz="2000" dirty="0" err="1"/>
              <a:t>sit</a:t>
            </a:r>
            <a:r>
              <a:rPr lang="fr-FR" sz="2000" dirty="0"/>
              <a:t> </a:t>
            </a:r>
            <a:r>
              <a:rPr lang="fr-FR" sz="2000" dirty="0" err="1"/>
              <a:t>amet</a:t>
            </a:r>
            <a:r>
              <a:rPr lang="fr-FR" sz="2000" dirty="0"/>
              <a:t> diam </a:t>
            </a:r>
            <a:r>
              <a:rPr lang="fr-FR" sz="2000" dirty="0" err="1"/>
              <a:t>aliquet</a:t>
            </a:r>
            <a:endParaRPr lang="fr-FR" sz="2000" dirty="0"/>
          </a:p>
          <a:p>
            <a:r>
              <a:rPr lang="fr-FR" sz="2000" dirty="0" err="1"/>
              <a:t>Itae</a:t>
            </a:r>
            <a:r>
              <a:rPr lang="fr-FR" sz="2000" dirty="0"/>
              <a:t> </a:t>
            </a:r>
            <a:r>
              <a:rPr lang="fr-FR" sz="2000" dirty="0" err="1"/>
              <a:t>sagittis</a:t>
            </a:r>
            <a:r>
              <a:rPr lang="fr-FR" sz="2000" dirty="0"/>
              <a:t> diam </a:t>
            </a:r>
            <a:r>
              <a:rPr lang="fr-FR" sz="2000" dirty="0" err="1"/>
              <a:t>euismod</a:t>
            </a:r>
            <a:r>
              <a:rPr lang="fr-FR" sz="2000" dirty="0"/>
              <a:t>. </a:t>
            </a:r>
            <a:r>
              <a:rPr lang="fr-FR" sz="2000" dirty="0" err="1"/>
              <a:t>Quisque</a:t>
            </a:r>
            <a:r>
              <a:rPr lang="fr-FR" sz="2000" dirty="0"/>
              <a:t> ut ex </a:t>
            </a:r>
            <a:r>
              <a:rPr lang="fr-FR" sz="2000" dirty="0" err="1"/>
              <a:t>posuere</a:t>
            </a:r>
            <a:r>
              <a:rPr lang="fr-FR" sz="2000" dirty="0"/>
              <a:t>, </a:t>
            </a:r>
            <a:r>
              <a:rPr lang="fr-FR" sz="2000" dirty="0" err="1"/>
              <a:t>elementum</a:t>
            </a:r>
            <a:r>
              <a:rPr lang="fr-FR" sz="2000" dirty="0"/>
              <a:t> </a:t>
            </a:r>
            <a:r>
              <a:rPr lang="fr-FR" sz="2000" dirty="0" err="1"/>
              <a:t>orci</a:t>
            </a:r>
            <a:r>
              <a:rPr lang="fr-FR" sz="2000" dirty="0"/>
              <a:t> et, </a:t>
            </a:r>
            <a:r>
              <a:rPr lang="fr-FR" sz="2000" dirty="0" err="1"/>
              <a:t>rutrum</a:t>
            </a:r>
            <a:r>
              <a:rPr lang="fr-FR" sz="2000" dirty="0"/>
              <a:t> </a:t>
            </a:r>
            <a:r>
              <a:rPr lang="fr-FR" sz="2000" dirty="0" err="1"/>
              <a:t>mauris</a:t>
            </a:r>
            <a:r>
              <a:rPr lang="fr-FR" sz="2000" dirty="0"/>
              <a:t>. </a:t>
            </a:r>
            <a:r>
              <a:rPr lang="fr-FR" sz="2000" dirty="0" err="1"/>
              <a:t>Aenean</a:t>
            </a:r>
            <a:r>
              <a:rPr lang="fr-FR" sz="2000" dirty="0"/>
              <a:t> </a:t>
            </a:r>
            <a:r>
              <a:rPr lang="fr-FR" sz="2000" dirty="0" err="1"/>
              <a:t>efficitur</a:t>
            </a:r>
            <a:r>
              <a:rPr lang="fr-FR" sz="2000" dirty="0"/>
              <a:t> </a:t>
            </a:r>
            <a:r>
              <a:rPr lang="fr-FR" sz="2000" dirty="0" err="1"/>
              <a:t>nisl</a:t>
            </a:r>
            <a:r>
              <a:rPr lang="fr-FR" sz="2000" dirty="0"/>
              <a:t> eu </a:t>
            </a:r>
            <a:r>
              <a:rPr lang="fr-FR" sz="2000" dirty="0" err="1"/>
              <a:t>consequat</a:t>
            </a:r>
            <a:r>
              <a:rPr lang="fr-FR" sz="2000" dirty="0"/>
              <a:t> </a:t>
            </a:r>
            <a:r>
              <a:rPr lang="fr-FR" sz="2000" dirty="0" err="1"/>
              <a:t>viverra</a:t>
            </a:r>
            <a:r>
              <a:rPr lang="fr-FR" sz="2000" dirty="0"/>
              <a:t>. </a:t>
            </a:r>
            <a:r>
              <a:rPr lang="fr-FR" sz="2000" dirty="0" err="1"/>
              <a:t>Vivamus</a:t>
            </a:r>
            <a:r>
              <a:rPr lang="fr-FR" sz="2000" dirty="0"/>
              <a:t> </a:t>
            </a:r>
            <a:r>
              <a:rPr lang="fr-FR" sz="2000" dirty="0" err="1"/>
              <a:t>sed</a:t>
            </a:r>
            <a:r>
              <a:rPr lang="fr-FR" sz="2000" dirty="0"/>
              <a:t> </a:t>
            </a:r>
            <a:r>
              <a:rPr lang="fr-FR" sz="2000" dirty="0" err="1"/>
              <a:t>eros</a:t>
            </a:r>
            <a:r>
              <a:rPr lang="fr-FR" sz="2000" dirty="0"/>
              <a:t> </a:t>
            </a:r>
            <a:endParaRPr lang="en-MY" sz="2000" dirty="0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4EA17227-CF6B-4D00-8F59-5110D9C0F44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84900" y="1825625"/>
            <a:ext cx="5168900" cy="39052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endParaRPr lang="en-MY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C8E93E6-C6B6-4EA5-9F01-2AF4F8E096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33103" y="301746"/>
            <a:ext cx="1223314" cy="301124"/>
          </a:xfrm>
          <a:prstGeom prst="rect">
            <a:avLst/>
          </a:prstGeom>
        </p:spPr>
      </p:pic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0542AB27-66E3-4D46-B3A2-29E4A3C277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13217" y="6492875"/>
            <a:ext cx="2743200" cy="365125"/>
          </a:xfrm>
        </p:spPr>
        <p:txBody>
          <a:bodyPr/>
          <a:lstStyle/>
          <a:p>
            <a:fld id="{CC5F6E56-2187-BC42-9704-89D26612177D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F5AD7285-0F1A-4810-BA4A-160CCC3A8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64771"/>
            <a:ext cx="10515600" cy="38238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rgbClr val="2D257D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MY" dirty="0">
              <a:solidFill>
                <a:srgbClr val="2E2F7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8576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3">
            <a:extLst>
              <a:ext uri="{FF2B5EF4-FFF2-40B4-BE49-F238E27FC236}">
                <a16:creationId xmlns:a16="http://schemas.microsoft.com/office/drawing/2014/main" id="{B57E5949-6365-4C2A-83D2-99D5DA09F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64771"/>
            <a:ext cx="10515600" cy="38238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rgbClr val="2D257D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MY" dirty="0">
              <a:solidFill>
                <a:srgbClr val="2E2F75"/>
              </a:solidFill>
            </a:endParaRPr>
          </a:p>
        </p:txBody>
      </p:sp>
      <p:sp>
        <p:nvSpPr>
          <p:cNvPr id="20" name="Content Placeholder 16">
            <a:extLst>
              <a:ext uri="{FF2B5EF4-FFF2-40B4-BE49-F238E27FC236}">
                <a16:creationId xmlns:a16="http://schemas.microsoft.com/office/drawing/2014/main" id="{2DF7DF89-FE23-4BB4-BC71-70C6B9D2106D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MY" sz="2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5ED226C-3A32-43D2-922A-3AF4811FF2D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33103" y="301746"/>
            <a:ext cx="1223314" cy="301124"/>
          </a:xfrm>
          <a:prstGeom prst="rect">
            <a:avLst/>
          </a:prstGeom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74C697A4-8C57-48FF-B4B3-B673E694C2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13217" y="6492875"/>
            <a:ext cx="2743200" cy="365125"/>
          </a:xfrm>
        </p:spPr>
        <p:txBody>
          <a:bodyPr/>
          <a:lstStyle/>
          <a:p>
            <a:fld id="{CC5F6E56-2187-BC42-9704-89D26612177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01655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245FA5F-CB87-4409-BCAD-4D97F2DFA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MY">
                <a:solidFill>
                  <a:srgbClr val="2E2F75"/>
                </a:solidFill>
              </a:rPr>
              <a:t>Heading</a:t>
            </a:r>
          </a:p>
        </p:txBody>
      </p:sp>
      <p:sp>
        <p:nvSpPr>
          <p:cNvPr id="6" name="Content Placeholder 16">
            <a:extLst>
              <a:ext uri="{FF2B5EF4-FFF2-40B4-BE49-F238E27FC236}">
                <a16:creationId xmlns:a16="http://schemas.microsoft.com/office/drawing/2014/main" id="{E959EFE8-FD49-4714-8F99-CFF57BCF905C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838200" y="1825625"/>
            <a:ext cx="5181600" cy="3904863"/>
          </a:xfrm>
        </p:spPr>
        <p:txBody>
          <a:bodyPr>
            <a:normAutofit/>
          </a:bodyPr>
          <a:lstStyle/>
          <a:p>
            <a:r>
              <a:rPr lang="en-MY" sz="2000"/>
              <a:t>Lorem ipsum </a:t>
            </a:r>
            <a:r>
              <a:rPr lang="en-MY" sz="2000" err="1"/>
              <a:t>dolor</a:t>
            </a:r>
            <a:r>
              <a:rPr lang="en-MY" sz="2000"/>
              <a:t> sit </a:t>
            </a:r>
            <a:r>
              <a:rPr lang="en-MY" sz="2000" err="1"/>
              <a:t>amet</a:t>
            </a:r>
            <a:r>
              <a:rPr lang="en-MY" sz="2000"/>
              <a:t>, </a:t>
            </a:r>
            <a:r>
              <a:rPr lang="en-MY" sz="2000" err="1"/>
              <a:t>consectetur</a:t>
            </a:r>
            <a:r>
              <a:rPr lang="en-MY" sz="2000"/>
              <a:t> </a:t>
            </a:r>
            <a:r>
              <a:rPr lang="en-MY" sz="2000" err="1"/>
              <a:t>adipiscing</a:t>
            </a:r>
            <a:r>
              <a:rPr lang="en-MY" sz="2000"/>
              <a:t> </a:t>
            </a:r>
            <a:r>
              <a:rPr lang="en-MY" sz="2000" err="1"/>
              <a:t>elit</a:t>
            </a:r>
            <a:r>
              <a:rPr lang="en-MY" sz="200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err="1"/>
              <a:t>Vivamus</a:t>
            </a:r>
            <a:r>
              <a:rPr lang="fr-FR" sz="2000"/>
              <a:t> </a:t>
            </a:r>
            <a:r>
              <a:rPr lang="fr-FR" sz="2000" err="1"/>
              <a:t>eget</a:t>
            </a:r>
            <a:r>
              <a:rPr lang="fr-FR" sz="2000"/>
              <a:t> </a:t>
            </a:r>
            <a:r>
              <a:rPr lang="fr-FR" sz="2000" err="1"/>
              <a:t>volutpat</a:t>
            </a:r>
            <a:r>
              <a:rPr lang="fr-FR" sz="2000"/>
              <a:t> </a:t>
            </a:r>
            <a:r>
              <a:rPr lang="fr-FR" sz="2000" err="1"/>
              <a:t>risus</a:t>
            </a:r>
            <a:r>
              <a:rPr lang="fr-FR" sz="2000"/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/>
              <a:t>Duis </a:t>
            </a:r>
            <a:r>
              <a:rPr lang="fr-FR" sz="2000" err="1"/>
              <a:t>convallis</a:t>
            </a:r>
            <a:r>
              <a:rPr lang="fr-FR" sz="2000"/>
              <a:t>. </a:t>
            </a:r>
            <a:r>
              <a:rPr lang="fr-FR" sz="2000" err="1"/>
              <a:t>fermentum</a:t>
            </a:r>
            <a:r>
              <a:rPr lang="fr-FR" sz="2000"/>
              <a:t> </a:t>
            </a:r>
            <a:r>
              <a:rPr lang="fr-FR" sz="2000" err="1"/>
              <a:t>sollicitudin</a:t>
            </a:r>
            <a:r>
              <a:rPr lang="fr-FR" sz="200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err="1"/>
              <a:t>Maecenas</a:t>
            </a:r>
            <a:r>
              <a:rPr lang="fr-FR" sz="2000"/>
              <a:t> libero </a:t>
            </a:r>
            <a:r>
              <a:rPr lang="fr-FR" sz="2000" err="1"/>
              <a:t>elit</a:t>
            </a:r>
            <a:r>
              <a:rPr lang="fr-FR" sz="2000"/>
              <a:t>, </a:t>
            </a:r>
            <a:r>
              <a:rPr lang="fr-FR" sz="2000" err="1"/>
              <a:t>lacinia</a:t>
            </a:r>
            <a:r>
              <a:rPr lang="fr-FR" sz="2000"/>
              <a:t> </a:t>
            </a:r>
            <a:r>
              <a:rPr lang="fr-FR" sz="2000" err="1"/>
              <a:t>quis</a:t>
            </a:r>
            <a:r>
              <a:rPr lang="fr-FR" sz="2000"/>
              <a:t> </a:t>
            </a:r>
            <a:r>
              <a:rPr lang="fr-FR" sz="2000" err="1"/>
              <a:t>nisi</a:t>
            </a:r>
            <a:r>
              <a:rPr lang="fr-FR" sz="2000"/>
              <a:t> non, </a:t>
            </a:r>
            <a:r>
              <a:rPr lang="fr-FR" sz="2000" err="1"/>
              <a:t>aliquam</a:t>
            </a:r>
            <a:r>
              <a:rPr lang="fr-FR" sz="2000"/>
              <a:t> </a:t>
            </a:r>
            <a:r>
              <a:rPr lang="fr-FR" sz="2000" err="1"/>
              <a:t>ullamcorper</a:t>
            </a:r>
            <a:r>
              <a:rPr lang="fr-FR" sz="2000"/>
              <a:t> </a:t>
            </a:r>
            <a:r>
              <a:rPr lang="fr-FR" sz="2000" err="1"/>
              <a:t>arcu</a:t>
            </a:r>
            <a:r>
              <a:rPr lang="fr-FR" sz="2000"/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/>
              <a:t>Sed </a:t>
            </a:r>
            <a:r>
              <a:rPr lang="fr-FR" sz="2000" err="1"/>
              <a:t>fermentum</a:t>
            </a:r>
            <a:r>
              <a:rPr lang="fr-FR" sz="2000"/>
              <a:t> est </a:t>
            </a:r>
            <a:r>
              <a:rPr lang="fr-FR" sz="2000" err="1"/>
              <a:t>sit</a:t>
            </a:r>
            <a:r>
              <a:rPr lang="fr-FR" sz="2000"/>
              <a:t> </a:t>
            </a:r>
            <a:r>
              <a:rPr lang="fr-FR" sz="2000" err="1"/>
              <a:t>amet</a:t>
            </a:r>
            <a:r>
              <a:rPr lang="fr-FR" sz="2000"/>
              <a:t> diam </a:t>
            </a:r>
            <a:r>
              <a:rPr lang="fr-FR" sz="2000" err="1"/>
              <a:t>aliquet</a:t>
            </a:r>
            <a:endParaRPr lang="fr-FR" sz="2000"/>
          </a:p>
          <a:p>
            <a:r>
              <a:rPr lang="fr-FR" sz="2000" err="1"/>
              <a:t>Itae</a:t>
            </a:r>
            <a:r>
              <a:rPr lang="fr-FR" sz="2000"/>
              <a:t> </a:t>
            </a:r>
            <a:r>
              <a:rPr lang="fr-FR" sz="2000" err="1"/>
              <a:t>sagittis</a:t>
            </a:r>
            <a:r>
              <a:rPr lang="fr-FR" sz="2000"/>
              <a:t> diam </a:t>
            </a:r>
            <a:r>
              <a:rPr lang="fr-FR" sz="2000" err="1"/>
              <a:t>euismod</a:t>
            </a:r>
            <a:r>
              <a:rPr lang="fr-FR" sz="2000"/>
              <a:t>. </a:t>
            </a:r>
            <a:r>
              <a:rPr lang="fr-FR" sz="2000" err="1"/>
              <a:t>Quisque</a:t>
            </a:r>
            <a:r>
              <a:rPr lang="fr-FR" sz="2000"/>
              <a:t> ut ex </a:t>
            </a:r>
            <a:r>
              <a:rPr lang="fr-FR" sz="2000" err="1"/>
              <a:t>posuere</a:t>
            </a:r>
            <a:r>
              <a:rPr lang="fr-FR" sz="2000"/>
              <a:t>, </a:t>
            </a:r>
            <a:r>
              <a:rPr lang="fr-FR" sz="2000" err="1"/>
              <a:t>elementum</a:t>
            </a:r>
            <a:r>
              <a:rPr lang="fr-FR" sz="2000"/>
              <a:t> </a:t>
            </a:r>
            <a:r>
              <a:rPr lang="fr-FR" sz="2000" err="1"/>
              <a:t>orci</a:t>
            </a:r>
            <a:r>
              <a:rPr lang="fr-FR" sz="2000"/>
              <a:t> et, </a:t>
            </a:r>
            <a:r>
              <a:rPr lang="fr-FR" sz="2000" err="1"/>
              <a:t>rutrum</a:t>
            </a:r>
            <a:r>
              <a:rPr lang="fr-FR" sz="2000"/>
              <a:t> </a:t>
            </a:r>
            <a:r>
              <a:rPr lang="fr-FR" sz="2000" err="1"/>
              <a:t>mauris</a:t>
            </a:r>
            <a:r>
              <a:rPr lang="fr-FR" sz="2000"/>
              <a:t>. </a:t>
            </a:r>
            <a:r>
              <a:rPr lang="fr-FR" sz="2000" err="1"/>
              <a:t>Aenean</a:t>
            </a:r>
            <a:r>
              <a:rPr lang="fr-FR" sz="2000"/>
              <a:t> </a:t>
            </a:r>
            <a:r>
              <a:rPr lang="fr-FR" sz="2000" err="1"/>
              <a:t>efficitur</a:t>
            </a:r>
            <a:r>
              <a:rPr lang="fr-FR" sz="2000"/>
              <a:t> </a:t>
            </a:r>
            <a:r>
              <a:rPr lang="fr-FR" sz="2000" err="1"/>
              <a:t>nisl</a:t>
            </a:r>
            <a:r>
              <a:rPr lang="fr-FR" sz="2000"/>
              <a:t> eu </a:t>
            </a:r>
            <a:r>
              <a:rPr lang="fr-FR" sz="2000" err="1"/>
              <a:t>consequat</a:t>
            </a:r>
            <a:r>
              <a:rPr lang="fr-FR" sz="2000"/>
              <a:t> </a:t>
            </a:r>
            <a:r>
              <a:rPr lang="fr-FR" sz="2000" err="1"/>
              <a:t>viverra</a:t>
            </a:r>
            <a:r>
              <a:rPr lang="fr-FR" sz="2000"/>
              <a:t>. </a:t>
            </a:r>
            <a:r>
              <a:rPr lang="fr-FR" sz="2000" err="1"/>
              <a:t>Vivamus</a:t>
            </a:r>
            <a:r>
              <a:rPr lang="fr-FR" sz="2000"/>
              <a:t> </a:t>
            </a:r>
            <a:r>
              <a:rPr lang="fr-FR" sz="2000" err="1"/>
              <a:t>sed</a:t>
            </a:r>
            <a:r>
              <a:rPr lang="fr-FR" sz="2000"/>
              <a:t> </a:t>
            </a:r>
            <a:r>
              <a:rPr lang="fr-FR" sz="2000" err="1"/>
              <a:t>eros</a:t>
            </a:r>
            <a:r>
              <a:rPr lang="fr-FR" sz="2000"/>
              <a:t> </a:t>
            </a:r>
            <a:endParaRPr lang="en-MY" sz="200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D113815-00F0-419D-8792-8AE82A54B7F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84900" y="1825625"/>
            <a:ext cx="5168900" cy="3905250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endParaRPr lang="en-MY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B607A0-9A70-4715-A6FC-113675B32D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45278" y="5559330"/>
            <a:ext cx="2246722" cy="1325564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1D90AB4-6FE7-47E5-8542-2CD8CDC289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507670"/>
            <a:ext cx="2743200" cy="365125"/>
          </a:xfrm>
        </p:spPr>
        <p:txBody>
          <a:bodyPr/>
          <a:lstStyle>
            <a:lvl1pPr algn="r">
              <a:defRPr/>
            </a:lvl1pPr>
          </a:lstStyle>
          <a:p>
            <a:fld id="{F7265673-696B-4CCC-B3D5-D5AF86676263}" type="slidenum">
              <a:rPr lang="en-MY" smtClean="0"/>
              <a:pPr/>
              <a:t>‹#›</a:t>
            </a:fld>
            <a:endParaRPr lang="en-MY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0A13EE8-CEC9-3077-0BE1-52EC488D1C9B}"/>
              </a:ext>
            </a:extLst>
          </p:cNvPr>
          <p:cNvGrpSpPr/>
          <p:nvPr userDrawn="1"/>
        </p:nvGrpSpPr>
        <p:grpSpPr>
          <a:xfrm>
            <a:off x="10441360" y="5865812"/>
            <a:ext cx="1609725" cy="813403"/>
            <a:chOff x="10441360" y="5865812"/>
            <a:chExt cx="1609725" cy="81340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A1E8485-4AF8-186E-0FB9-F1F2141BD523}"/>
                </a:ext>
              </a:extLst>
            </p:cNvPr>
            <p:cNvSpPr/>
            <p:nvPr userDrawn="1"/>
          </p:nvSpPr>
          <p:spPr>
            <a:xfrm>
              <a:off x="10605247" y="5865812"/>
              <a:ext cx="1281953" cy="8134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" name="Picture 2">
              <a:extLst>
                <a:ext uri="{FF2B5EF4-FFF2-40B4-BE49-F238E27FC236}">
                  <a16:creationId xmlns:a16="http://schemas.microsoft.com/office/drawing/2014/main" id="{87162DD2-40F1-5C4E-FEED-A03EE8D3301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Marker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41360" y="6024422"/>
              <a:ext cx="1609725" cy="638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273345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blipFill>
            <a:blip r:embed="rId3"/>
            <a:stretch>
              <a:fillRect/>
            </a:stretch>
          </a:blipFill>
        </p:spPr>
        <p:txBody>
          <a:bodyPr lIns="9000000" tIns="612000" rIns="180000" anchor="ctr" anchorCtr="0"/>
          <a:lstStyle>
            <a:lvl1pPr marL="0" indent="0" algn="l">
              <a:buFontTx/>
              <a:buNone/>
              <a:defRPr sz="1600" b="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on picture frame to insert background picture, click on DNV-menu / Image Tools-button / Choose Insert or Paste</a:t>
            </a:r>
            <a:endParaRPr lang="en-GB" dirty="0"/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36BC1AE-8CBE-4EA7-85B1-05A9468D91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751" y="1730375"/>
            <a:ext cx="8290798" cy="2985625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52A4BCE6-B178-4BF6-BBA3-BC5CCD7F11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4946400"/>
            <a:ext cx="8290798" cy="648072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ts val="0"/>
              </a:spcBef>
              <a:buNone/>
              <a:defRPr lang="en-US" sz="2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add subtitle</a:t>
            </a:r>
            <a:endParaRPr lang="en-GB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D03B31E-37CD-4AFE-AF40-02CD888651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9748" y="5768975"/>
            <a:ext cx="8291049" cy="277813"/>
          </a:xfrm>
        </p:spPr>
        <p:txBody>
          <a:bodyPr anchor="b" anchorCtr="0"/>
          <a:lstStyle>
            <a:lvl1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2pPr>
            <a:lvl3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3pPr>
            <a:lvl4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4pPr>
            <a:lvl5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5pPr>
          </a:lstStyle>
          <a:p>
            <a:pPr lvl="0"/>
            <a:r>
              <a:rPr lang="en-GB"/>
              <a:t>Click to add name, title etc..</a:t>
            </a:r>
            <a:endParaRPr lang="en-GB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68AF7DD-9CF9-4309-AF51-B7660362642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6128743"/>
            <a:ext cx="8290797" cy="214833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GB"/>
              <a:t>Insert date DD Month Year</a:t>
            </a:r>
            <a:endParaRPr lang="en-GB" dirty="0"/>
          </a:p>
        </p:txBody>
      </p:sp>
      <p:sp>
        <p:nvSpPr>
          <p:cNvPr id="41" name="Date Placeholder 12" hidden="1">
            <a:extLst>
              <a:ext uri="{FF2B5EF4-FFF2-40B4-BE49-F238E27FC236}">
                <a16:creationId xmlns:a16="http://schemas.microsoft.com/office/drawing/2014/main" id="{F8C7B2A1-0C6D-4367-B22A-DB1D1248E7E8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v. 1.0</a:t>
            </a:r>
            <a:endParaRPr lang="en-GB" dirty="0"/>
          </a:p>
        </p:txBody>
      </p:sp>
      <p:sp>
        <p:nvSpPr>
          <p:cNvPr id="42" name="Footer Placeholder 23" hidden="1">
            <a:extLst>
              <a:ext uri="{FF2B5EF4-FFF2-40B4-BE49-F238E27FC236}">
                <a16:creationId xmlns:a16="http://schemas.microsoft.com/office/drawing/2014/main" id="{70E9D16D-FE2F-4908-ABD5-BB45ECB4099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>
                <a:noFill/>
              </a:rPr>
              <a:t>Maritime Cyber Security</a:t>
            </a:r>
            <a:endParaRPr lang="en-GB" dirty="0">
              <a:noFill/>
            </a:endParaRPr>
          </a:p>
        </p:txBody>
      </p:sp>
      <p:sp>
        <p:nvSpPr>
          <p:cNvPr id="43" name="Slide Number Placeholder 24" hidden="1">
            <a:extLst>
              <a:ext uri="{FF2B5EF4-FFF2-40B4-BE49-F238E27FC236}">
                <a16:creationId xmlns:a16="http://schemas.microsoft.com/office/drawing/2014/main" id="{393087B7-ABFA-4120-819F-40E9D4ED116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sz="100" dirty="0"/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91479EF3-988A-4C9C-ADDB-C1D212A272B4}"/>
              </a:ext>
            </a:extLst>
          </p:cNvPr>
          <p:cNvSpPr>
            <a:spLocks noGrp="1" noChangeAspect="1"/>
          </p:cNvSpPr>
          <p:nvPr userDrawn="1">
            <p:ph type="body" sz="quarter" idx="22" hasCustomPrompt="1"/>
          </p:nvPr>
        </p:nvSpPr>
        <p:spPr bwMode="white">
          <a:xfrm>
            <a:off x="540000" y="540000"/>
            <a:ext cx="1702800" cy="727238"/>
          </a:xfrm>
          <a:custGeom>
            <a:avLst/>
            <a:gdLst>
              <a:gd name="connsiteX0" fmla="*/ 4835251 w 9270620"/>
              <a:gd name="connsiteY0" fmla="*/ 2948180 h 3959325"/>
              <a:gd name="connsiteX1" fmla="*/ 4835251 w 9270620"/>
              <a:gd name="connsiteY1" fmla="*/ 3779899 h 3959325"/>
              <a:gd name="connsiteX2" fmla="*/ 5282830 w 9270620"/>
              <a:gd name="connsiteY2" fmla="*/ 3779899 h 3959325"/>
              <a:gd name="connsiteX3" fmla="*/ 5590803 w 9270620"/>
              <a:gd name="connsiteY3" fmla="*/ 3686324 h 3959325"/>
              <a:gd name="connsiteX4" fmla="*/ 5693918 w 9270620"/>
              <a:gd name="connsiteY4" fmla="*/ 3399093 h 3959325"/>
              <a:gd name="connsiteX5" fmla="*/ 5693918 w 9270620"/>
              <a:gd name="connsiteY5" fmla="*/ 3329139 h 3959325"/>
              <a:gd name="connsiteX6" fmla="*/ 5590803 w 9270620"/>
              <a:gd name="connsiteY6" fmla="*/ 3039484 h 3959325"/>
              <a:gd name="connsiteX7" fmla="*/ 5282830 w 9270620"/>
              <a:gd name="connsiteY7" fmla="*/ 2948180 h 3959325"/>
              <a:gd name="connsiteX8" fmla="*/ 7923941 w 9270620"/>
              <a:gd name="connsiteY8" fmla="*/ 2768907 h 3959325"/>
              <a:gd name="connsiteX9" fmla="*/ 8147729 w 9270620"/>
              <a:gd name="connsiteY9" fmla="*/ 2768907 h 3959325"/>
              <a:gd name="connsiteX10" fmla="*/ 8603334 w 9270620"/>
              <a:gd name="connsiteY10" fmla="*/ 3699197 h 3959325"/>
              <a:gd name="connsiteX11" fmla="*/ 9058787 w 9270620"/>
              <a:gd name="connsiteY11" fmla="*/ 2768907 h 3959325"/>
              <a:gd name="connsiteX12" fmla="*/ 9269858 w 9270620"/>
              <a:gd name="connsiteY12" fmla="*/ 2768907 h 3959325"/>
              <a:gd name="connsiteX13" fmla="*/ 8674651 w 9270620"/>
              <a:gd name="connsiteY13" fmla="*/ 3959325 h 3959325"/>
              <a:gd name="connsiteX14" fmla="*/ 8520664 w 9270620"/>
              <a:gd name="connsiteY14" fmla="*/ 3959325 h 3959325"/>
              <a:gd name="connsiteX15" fmla="*/ 6265204 w 9270620"/>
              <a:gd name="connsiteY15" fmla="*/ 2768907 h 3959325"/>
              <a:gd name="connsiteX16" fmla="*/ 6349390 w 9270620"/>
              <a:gd name="connsiteY16" fmla="*/ 2768907 h 3959325"/>
              <a:gd name="connsiteX17" fmla="*/ 6458862 w 9270620"/>
              <a:gd name="connsiteY17" fmla="*/ 2768907 h 3959325"/>
              <a:gd name="connsiteX18" fmla="*/ 7379459 w 9270620"/>
              <a:gd name="connsiteY18" fmla="*/ 3699197 h 3959325"/>
              <a:gd name="connsiteX19" fmla="*/ 7379459 w 9270620"/>
              <a:gd name="connsiteY19" fmla="*/ 2768907 h 3959325"/>
              <a:gd name="connsiteX20" fmla="*/ 7574783 w 9270620"/>
              <a:gd name="connsiteY20" fmla="*/ 2768907 h 3959325"/>
              <a:gd name="connsiteX21" fmla="*/ 7574783 w 9270620"/>
              <a:gd name="connsiteY21" fmla="*/ 3959325 h 3959325"/>
              <a:gd name="connsiteX22" fmla="*/ 7379459 w 9270620"/>
              <a:gd name="connsiteY22" fmla="*/ 3959325 h 3959325"/>
              <a:gd name="connsiteX23" fmla="*/ 6458862 w 9270620"/>
              <a:gd name="connsiteY23" fmla="*/ 3030248 h 3959325"/>
              <a:gd name="connsiteX24" fmla="*/ 6458862 w 9270620"/>
              <a:gd name="connsiteY24" fmla="*/ 3959325 h 3959325"/>
              <a:gd name="connsiteX25" fmla="*/ 6265204 w 9270620"/>
              <a:gd name="connsiteY25" fmla="*/ 3959325 h 3959325"/>
              <a:gd name="connsiteX26" fmla="*/ 4636746 w 9270620"/>
              <a:gd name="connsiteY26" fmla="*/ 2768907 h 3959325"/>
              <a:gd name="connsiteX27" fmla="*/ 4725625 w 9270620"/>
              <a:gd name="connsiteY27" fmla="*/ 2768907 h 3959325"/>
              <a:gd name="connsiteX28" fmla="*/ 4835098 w 9270620"/>
              <a:gd name="connsiteY28" fmla="*/ 2768907 h 3959325"/>
              <a:gd name="connsiteX29" fmla="*/ 5281164 w 9270620"/>
              <a:gd name="connsiteY29" fmla="*/ 2768907 h 3959325"/>
              <a:gd name="connsiteX30" fmla="*/ 5606551 w 9270620"/>
              <a:gd name="connsiteY30" fmla="*/ 2830078 h 3959325"/>
              <a:gd name="connsiteX31" fmla="*/ 5816110 w 9270620"/>
              <a:gd name="connsiteY31" fmla="*/ 3014048 h 3959325"/>
              <a:gd name="connsiteX32" fmla="*/ 5889091 w 9270620"/>
              <a:gd name="connsiteY32" fmla="*/ 3322781 h 3959325"/>
              <a:gd name="connsiteX33" fmla="*/ 5889091 w 9270620"/>
              <a:gd name="connsiteY33" fmla="*/ 3405301 h 3959325"/>
              <a:gd name="connsiteX34" fmla="*/ 5816110 w 9270620"/>
              <a:gd name="connsiteY34" fmla="*/ 3714035 h 3959325"/>
              <a:gd name="connsiteX35" fmla="*/ 5606551 w 9270620"/>
              <a:gd name="connsiteY35" fmla="*/ 3898154 h 3959325"/>
              <a:gd name="connsiteX36" fmla="*/ 5281164 w 9270620"/>
              <a:gd name="connsiteY36" fmla="*/ 3959325 h 3959325"/>
              <a:gd name="connsiteX37" fmla="*/ 4835098 w 9270620"/>
              <a:gd name="connsiteY37" fmla="*/ 3959325 h 3959325"/>
              <a:gd name="connsiteX38" fmla="*/ 4725625 w 9270620"/>
              <a:gd name="connsiteY38" fmla="*/ 3959325 h 3959325"/>
              <a:gd name="connsiteX39" fmla="*/ 4636746 w 9270620"/>
              <a:gd name="connsiteY39" fmla="*/ 3959325 h 3959325"/>
              <a:gd name="connsiteX40" fmla="*/ 0 w 9270620"/>
              <a:gd name="connsiteY40" fmla="*/ 1844070 h 3959325"/>
              <a:gd name="connsiteX41" fmla="*/ 9270620 w 9270620"/>
              <a:gd name="connsiteY41" fmla="*/ 1844070 h 3959325"/>
              <a:gd name="connsiteX42" fmla="*/ 9270620 w 9270620"/>
              <a:gd name="connsiteY42" fmla="*/ 2212762 h 3959325"/>
              <a:gd name="connsiteX43" fmla="*/ 0 w 9270620"/>
              <a:gd name="connsiteY43" fmla="*/ 2212762 h 3959325"/>
              <a:gd name="connsiteX44" fmla="*/ 0 w 9270620"/>
              <a:gd name="connsiteY44" fmla="*/ 1475528 h 3959325"/>
              <a:gd name="connsiteX45" fmla="*/ 9270620 w 9270620"/>
              <a:gd name="connsiteY45" fmla="*/ 1475528 h 3959325"/>
              <a:gd name="connsiteX46" fmla="*/ 9270620 w 9270620"/>
              <a:gd name="connsiteY46" fmla="*/ 1660101 h 3959325"/>
              <a:gd name="connsiteX47" fmla="*/ 0 w 9270620"/>
              <a:gd name="connsiteY47" fmla="*/ 1660101 h 3959325"/>
              <a:gd name="connsiteX48" fmla="*/ 0 w 9270620"/>
              <a:gd name="connsiteY48" fmla="*/ 0 h 3959325"/>
              <a:gd name="connsiteX49" fmla="*/ 9270620 w 9270620"/>
              <a:gd name="connsiteY49" fmla="*/ 0 h 3959325"/>
              <a:gd name="connsiteX50" fmla="*/ 9270620 w 9270620"/>
              <a:gd name="connsiteY50" fmla="*/ 1106839 h 3959325"/>
              <a:gd name="connsiteX51" fmla="*/ 0 w 9270620"/>
              <a:gd name="connsiteY51" fmla="*/ 1106839 h 3959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9270620" h="3959325">
                <a:moveTo>
                  <a:pt x="4835251" y="2948180"/>
                </a:moveTo>
                <a:lnTo>
                  <a:pt x="4835251" y="3779899"/>
                </a:lnTo>
                <a:lnTo>
                  <a:pt x="5282830" y="3779899"/>
                </a:lnTo>
                <a:cubicBezTo>
                  <a:pt x="5419404" y="3779899"/>
                  <a:pt x="5522065" y="3748707"/>
                  <a:pt x="5590803" y="3686324"/>
                </a:cubicBezTo>
                <a:cubicBezTo>
                  <a:pt x="5659548" y="3623943"/>
                  <a:pt x="5693918" y="3528250"/>
                  <a:pt x="5693918" y="3399093"/>
                </a:cubicBezTo>
                <a:lnTo>
                  <a:pt x="5693918" y="3329139"/>
                </a:lnTo>
                <a:cubicBezTo>
                  <a:pt x="5693918" y="3196955"/>
                  <a:pt x="5659548" y="3100352"/>
                  <a:pt x="5590803" y="3039484"/>
                </a:cubicBezTo>
                <a:cubicBezTo>
                  <a:pt x="5521912" y="2978616"/>
                  <a:pt x="5419404" y="2948180"/>
                  <a:pt x="5282830" y="2948180"/>
                </a:cubicBezTo>
                <a:close/>
                <a:moveTo>
                  <a:pt x="7923941" y="2768907"/>
                </a:moveTo>
                <a:lnTo>
                  <a:pt x="8147729" y="2768907"/>
                </a:lnTo>
                <a:lnTo>
                  <a:pt x="8603334" y="3699197"/>
                </a:lnTo>
                <a:lnTo>
                  <a:pt x="9058787" y="2768907"/>
                </a:lnTo>
                <a:lnTo>
                  <a:pt x="9269858" y="2768907"/>
                </a:lnTo>
                <a:lnTo>
                  <a:pt x="8674651" y="3959325"/>
                </a:lnTo>
                <a:lnTo>
                  <a:pt x="8520664" y="3959325"/>
                </a:lnTo>
                <a:close/>
                <a:moveTo>
                  <a:pt x="6265204" y="2768907"/>
                </a:moveTo>
                <a:lnTo>
                  <a:pt x="6349390" y="2768907"/>
                </a:lnTo>
                <a:lnTo>
                  <a:pt x="6458862" y="2768907"/>
                </a:lnTo>
                <a:lnTo>
                  <a:pt x="7379459" y="3699197"/>
                </a:lnTo>
                <a:lnTo>
                  <a:pt x="7379459" y="2768907"/>
                </a:lnTo>
                <a:lnTo>
                  <a:pt x="7574783" y="2768907"/>
                </a:lnTo>
                <a:lnTo>
                  <a:pt x="7574783" y="3959325"/>
                </a:lnTo>
                <a:lnTo>
                  <a:pt x="7379459" y="3959325"/>
                </a:lnTo>
                <a:lnTo>
                  <a:pt x="6458862" y="3030248"/>
                </a:lnTo>
                <a:lnTo>
                  <a:pt x="6458862" y="3959325"/>
                </a:lnTo>
                <a:lnTo>
                  <a:pt x="6265204" y="3959325"/>
                </a:lnTo>
                <a:close/>
                <a:moveTo>
                  <a:pt x="4636746" y="2768907"/>
                </a:moveTo>
                <a:lnTo>
                  <a:pt x="4725625" y="2768907"/>
                </a:lnTo>
                <a:lnTo>
                  <a:pt x="4835098" y="2768907"/>
                </a:lnTo>
                <a:lnTo>
                  <a:pt x="5281164" y="2768907"/>
                </a:lnTo>
                <a:cubicBezTo>
                  <a:pt x="5407140" y="2768907"/>
                  <a:pt x="5515553" y="2789347"/>
                  <a:pt x="5606551" y="2830078"/>
                </a:cubicBezTo>
                <a:cubicBezTo>
                  <a:pt x="5697551" y="2870809"/>
                  <a:pt x="5767352" y="2932130"/>
                  <a:pt x="5816110" y="3014048"/>
                </a:cubicBezTo>
                <a:cubicBezTo>
                  <a:pt x="5864711" y="3096112"/>
                  <a:pt x="5889091" y="3198923"/>
                  <a:pt x="5889091" y="3322781"/>
                </a:cubicBezTo>
                <a:lnTo>
                  <a:pt x="5889091" y="3405301"/>
                </a:lnTo>
                <a:cubicBezTo>
                  <a:pt x="5889091" y="3529156"/>
                  <a:pt x="5864711" y="3631967"/>
                  <a:pt x="5816110" y="3714035"/>
                </a:cubicBezTo>
                <a:cubicBezTo>
                  <a:pt x="5767352" y="3796099"/>
                  <a:pt x="5697551" y="3857423"/>
                  <a:pt x="5606551" y="3898154"/>
                </a:cubicBezTo>
                <a:cubicBezTo>
                  <a:pt x="5515553" y="3938885"/>
                  <a:pt x="5407140" y="3959325"/>
                  <a:pt x="5281164" y="3959325"/>
                </a:cubicBezTo>
                <a:lnTo>
                  <a:pt x="4835098" y="3959325"/>
                </a:lnTo>
                <a:lnTo>
                  <a:pt x="4725625" y="3959325"/>
                </a:lnTo>
                <a:lnTo>
                  <a:pt x="4636746" y="3959325"/>
                </a:lnTo>
                <a:close/>
                <a:moveTo>
                  <a:pt x="0" y="1844070"/>
                </a:moveTo>
                <a:lnTo>
                  <a:pt x="9270620" y="1844070"/>
                </a:lnTo>
                <a:lnTo>
                  <a:pt x="9270620" y="2212762"/>
                </a:lnTo>
                <a:lnTo>
                  <a:pt x="0" y="2212762"/>
                </a:lnTo>
                <a:close/>
                <a:moveTo>
                  <a:pt x="0" y="1475528"/>
                </a:moveTo>
                <a:lnTo>
                  <a:pt x="9270620" y="1475528"/>
                </a:lnTo>
                <a:lnTo>
                  <a:pt x="9270620" y="1660101"/>
                </a:lnTo>
                <a:lnTo>
                  <a:pt x="0" y="1660101"/>
                </a:lnTo>
                <a:close/>
                <a:moveTo>
                  <a:pt x="0" y="0"/>
                </a:moveTo>
                <a:lnTo>
                  <a:pt x="9270620" y="0"/>
                </a:lnTo>
                <a:lnTo>
                  <a:pt x="9270620" y="1106839"/>
                </a:lnTo>
                <a:lnTo>
                  <a:pt x="0" y="110683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sp>
        <p:nvSpPr>
          <p:cNvPr id="15" name="Text Placeholder 53">
            <a:extLst>
              <a:ext uri="{FF2B5EF4-FFF2-40B4-BE49-F238E27FC236}">
                <a16:creationId xmlns:a16="http://schemas.microsoft.com/office/drawing/2014/main" id="{E5AF79C5-94DD-46C5-8CC3-1113D3AF2285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 bwMode="white">
          <a:xfrm>
            <a:off x="9950287" y="540000"/>
            <a:ext cx="1702800" cy="110911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9" name="_SD_FLD_DocumentNumber">
            <a:extLst>
              <a:ext uri="{FF2B5EF4-FFF2-40B4-BE49-F238E27FC236}">
                <a16:creationId xmlns:a16="http://schemas.microsoft.com/office/drawing/2014/main" id="{6D4A75F9-9621-4F28-A6CF-B645F5EF9C9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40001" y="6440400"/>
            <a:ext cx="1701550" cy="151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l">
              <a:spcBef>
                <a:spcPts val="0"/>
              </a:spcBef>
            </a:pPr>
            <a:endParaRPr lang="en-GB" altLang="ja-JP" sz="700" dirty="0">
              <a:solidFill>
                <a:schemeClr val="bg1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16" name="SD_FLD_Draft" hidden="1">
            <a:extLst>
              <a:ext uri="{FF2B5EF4-FFF2-40B4-BE49-F238E27FC236}">
                <a16:creationId xmlns:a16="http://schemas.microsoft.com/office/drawing/2014/main" id="{AD5BBEBA-5503-4301-834E-0266E3956A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17" name="SD_FLD_Confidentiality">
            <a:extLst>
              <a:ext uri="{FF2B5EF4-FFF2-40B4-BE49-F238E27FC236}">
                <a16:creationId xmlns:a16="http://schemas.microsoft.com/office/drawing/2014/main" id="{8A9F0C40-3C7F-4DF3-821F-6D35E44CE137}"/>
              </a:ext>
            </a:extLst>
          </p:cNvPr>
          <p:cNvSpPr/>
          <p:nvPr userDrawn="1"/>
        </p:nvSpPr>
        <p:spPr>
          <a:xfrm>
            <a:off x="7131600" y="6440400"/>
            <a:ext cx="2440800" cy="1512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GB" sz="700" b="0" kern="1200" cap="all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62052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blipFill>
            <a:blip r:embed="rId3"/>
            <a:stretch>
              <a:fillRect/>
            </a:stretch>
          </a:blipFill>
        </p:spPr>
        <p:txBody>
          <a:bodyPr lIns="9000000" tIns="612000" rIns="180000" anchor="ctr" anchorCtr="0"/>
          <a:lstStyle>
            <a:lvl1pPr marL="0" indent="0" algn="l">
              <a:buFontTx/>
              <a:buNone/>
              <a:defRPr sz="1600" b="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on picture frame to insert background picture, click on DNV-menu / Image Tools-button / Choose Insert or Paste</a:t>
            </a:r>
            <a:endParaRPr lang="en-GB" dirty="0"/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36BC1AE-8CBE-4EA7-85B1-05A9468D91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751" y="1730375"/>
            <a:ext cx="8290798" cy="2985625"/>
          </a:xfrm>
        </p:spPr>
        <p:txBody>
          <a:bodyPr anchor="b" anchorCtr="0">
            <a:noAutofit/>
          </a:bodyPr>
          <a:lstStyle>
            <a:lvl1pPr>
              <a:lnSpc>
                <a:spcPct val="83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52A4BCE6-B178-4BF6-BBA3-BC5CCD7F111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4946400"/>
            <a:ext cx="8290798" cy="648072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ts val="0"/>
              </a:spcBef>
              <a:buNone/>
              <a:defRPr lang="en-US" sz="20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add subtitle</a:t>
            </a:r>
            <a:endParaRPr lang="en-GB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D03B31E-37CD-4AFE-AF40-02CD888651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9748" y="5768975"/>
            <a:ext cx="8291049" cy="277813"/>
          </a:xfrm>
        </p:spPr>
        <p:txBody>
          <a:bodyPr anchor="b" anchorCtr="0"/>
          <a:lstStyle>
            <a:lvl1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1pPr>
            <a:lvl2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2pPr>
            <a:lvl3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3pPr>
            <a:lvl4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4pPr>
            <a:lvl5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5pPr>
          </a:lstStyle>
          <a:p>
            <a:pPr lvl="0"/>
            <a:r>
              <a:rPr lang="en-GB"/>
              <a:t>Click to add name, title etc..</a:t>
            </a:r>
            <a:endParaRPr lang="en-GB" dirty="0"/>
          </a:p>
        </p:txBody>
      </p:sp>
      <p:sp>
        <p:nvSpPr>
          <p:cNvPr id="41" name="Date Placeholder 12" hidden="1">
            <a:extLst>
              <a:ext uri="{FF2B5EF4-FFF2-40B4-BE49-F238E27FC236}">
                <a16:creationId xmlns:a16="http://schemas.microsoft.com/office/drawing/2014/main" id="{F8C7B2A1-0C6D-4367-B22A-DB1D1248E7E8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v. 1.0</a:t>
            </a:r>
            <a:endParaRPr lang="en-GB" dirty="0"/>
          </a:p>
        </p:txBody>
      </p:sp>
      <p:sp>
        <p:nvSpPr>
          <p:cNvPr id="42" name="Footer Placeholder 23" hidden="1">
            <a:extLst>
              <a:ext uri="{FF2B5EF4-FFF2-40B4-BE49-F238E27FC236}">
                <a16:creationId xmlns:a16="http://schemas.microsoft.com/office/drawing/2014/main" id="{70E9D16D-FE2F-4908-ABD5-BB45ECB4099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>
                <a:noFill/>
              </a:rPr>
              <a:t>Maritime Cyber Security</a:t>
            </a:r>
            <a:endParaRPr lang="en-GB" dirty="0">
              <a:noFill/>
            </a:endParaRPr>
          </a:p>
        </p:txBody>
      </p:sp>
      <p:sp>
        <p:nvSpPr>
          <p:cNvPr id="43" name="Slide Number Placeholder 24" hidden="1">
            <a:extLst>
              <a:ext uri="{FF2B5EF4-FFF2-40B4-BE49-F238E27FC236}">
                <a16:creationId xmlns:a16="http://schemas.microsoft.com/office/drawing/2014/main" id="{393087B7-ABFA-4120-819F-40E9D4ED116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sz="100" dirty="0"/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91479EF3-988A-4C9C-ADDB-C1D212A272B4}"/>
              </a:ext>
            </a:extLst>
          </p:cNvPr>
          <p:cNvSpPr>
            <a:spLocks noGrp="1" noChangeAspect="1"/>
          </p:cNvSpPr>
          <p:nvPr userDrawn="1">
            <p:ph type="body" sz="quarter" idx="22" hasCustomPrompt="1"/>
          </p:nvPr>
        </p:nvSpPr>
        <p:spPr>
          <a:xfrm>
            <a:off x="540000" y="540000"/>
            <a:ext cx="1702800" cy="727238"/>
          </a:xfrm>
          <a:custGeom>
            <a:avLst/>
            <a:gdLst>
              <a:gd name="connsiteX0" fmla="*/ 4835251 w 9270620"/>
              <a:gd name="connsiteY0" fmla="*/ 2948180 h 3959325"/>
              <a:gd name="connsiteX1" fmla="*/ 4835251 w 9270620"/>
              <a:gd name="connsiteY1" fmla="*/ 3779899 h 3959325"/>
              <a:gd name="connsiteX2" fmla="*/ 5282830 w 9270620"/>
              <a:gd name="connsiteY2" fmla="*/ 3779899 h 3959325"/>
              <a:gd name="connsiteX3" fmla="*/ 5590803 w 9270620"/>
              <a:gd name="connsiteY3" fmla="*/ 3686324 h 3959325"/>
              <a:gd name="connsiteX4" fmla="*/ 5693918 w 9270620"/>
              <a:gd name="connsiteY4" fmla="*/ 3399093 h 3959325"/>
              <a:gd name="connsiteX5" fmla="*/ 5693918 w 9270620"/>
              <a:gd name="connsiteY5" fmla="*/ 3329139 h 3959325"/>
              <a:gd name="connsiteX6" fmla="*/ 5590803 w 9270620"/>
              <a:gd name="connsiteY6" fmla="*/ 3039484 h 3959325"/>
              <a:gd name="connsiteX7" fmla="*/ 5282830 w 9270620"/>
              <a:gd name="connsiteY7" fmla="*/ 2948180 h 3959325"/>
              <a:gd name="connsiteX8" fmla="*/ 7923941 w 9270620"/>
              <a:gd name="connsiteY8" fmla="*/ 2768907 h 3959325"/>
              <a:gd name="connsiteX9" fmla="*/ 8147729 w 9270620"/>
              <a:gd name="connsiteY9" fmla="*/ 2768907 h 3959325"/>
              <a:gd name="connsiteX10" fmla="*/ 8603334 w 9270620"/>
              <a:gd name="connsiteY10" fmla="*/ 3699197 h 3959325"/>
              <a:gd name="connsiteX11" fmla="*/ 9058787 w 9270620"/>
              <a:gd name="connsiteY11" fmla="*/ 2768907 h 3959325"/>
              <a:gd name="connsiteX12" fmla="*/ 9269858 w 9270620"/>
              <a:gd name="connsiteY12" fmla="*/ 2768907 h 3959325"/>
              <a:gd name="connsiteX13" fmla="*/ 8674651 w 9270620"/>
              <a:gd name="connsiteY13" fmla="*/ 3959325 h 3959325"/>
              <a:gd name="connsiteX14" fmla="*/ 8520664 w 9270620"/>
              <a:gd name="connsiteY14" fmla="*/ 3959325 h 3959325"/>
              <a:gd name="connsiteX15" fmla="*/ 6265204 w 9270620"/>
              <a:gd name="connsiteY15" fmla="*/ 2768907 h 3959325"/>
              <a:gd name="connsiteX16" fmla="*/ 6349390 w 9270620"/>
              <a:gd name="connsiteY16" fmla="*/ 2768907 h 3959325"/>
              <a:gd name="connsiteX17" fmla="*/ 6458862 w 9270620"/>
              <a:gd name="connsiteY17" fmla="*/ 2768907 h 3959325"/>
              <a:gd name="connsiteX18" fmla="*/ 7379459 w 9270620"/>
              <a:gd name="connsiteY18" fmla="*/ 3699197 h 3959325"/>
              <a:gd name="connsiteX19" fmla="*/ 7379459 w 9270620"/>
              <a:gd name="connsiteY19" fmla="*/ 2768907 h 3959325"/>
              <a:gd name="connsiteX20" fmla="*/ 7574783 w 9270620"/>
              <a:gd name="connsiteY20" fmla="*/ 2768907 h 3959325"/>
              <a:gd name="connsiteX21" fmla="*/ 7574783 w 9270620"/>
              <a:gd name="connsiteY21" fmla="*/ 3959325 h 3959325"/>
              <a:gd name="connsiteX22" fmla="*/ 7379459 w 9270620"/>
              <a:gd name="connsiteY22" fmla="*/ 3959325 h 3959325"/>
              <a:gd name="connsiteX23" fmla="*/ 6458862 w 9270620"/>
              <a:gd name="connsiteY23" fmla="*/ 3030248 h 3959325"/>
              <a:gd name="connsiteX24" fmla="*/ 6458862 w 9270620"/>
              <a:gd name="connsiteY24" fmla="*/ 3959325 h 3959325"/>
              <a:gd name="connsiteX25" fmla="*/ 6265204 w 9270620"/>
              <a:gd name="connsiteY25" fmla="*/ 3959325 h 3959325"/>
              <a:gd name="connsiteX26" fmla="*/ 4636746 w 9270620"/>
              <a:gd name="connsiteY26" fmla="*/ 2768907 h 3959325"/>
              <a:gd name="connsiteX27" fmla="*/ 4725625 w 9270620"/>
              <a:gd name="connsiteY27" fmla="*/ 2768907 h 3959325"/>
              <a:gd name="connsiteX28" fmla="*/ 4835098 w 9270620"/>
              <a:gd name="connsiteY28" fmla="*/ 2768907 h 3959325"/>
              <a:gd name="connsiteX29" fmla="*/ 5281164 w 9270620"/>
              <a:gd name="connsiteY29" fmla="*/ 2768907 h 3959325"/>
              <a:gd name="connsiteX30" fmla="*/ 5606551 w 9270620"/>
              <a:gd name="connsiteY30" fmla="*/ 2830078 h 3959325"/>
              <a:gd name="connsiteX31" fmla="*/ 5816110 w 9270620"/>
              <a:gd name="connsiteY31" fmla="*/ 3014048 h 3959325"/>
              <a:gd name="connsiteX32" fmla="*/ 5889091 w 9270620"/>
              <a:gd name="connsiteY32" fmla="*/ 3322781 h 3959325"/>
              <a:gd name="connsiteX33" fmla="*/ 5889091 w 9270620"/>
              <a:gd name="connsiteY33" fmla="*/ 3405301 h 3959325"/>
              <a:gd name="connsiteX34" fmla="*/ 5816110 w 9270620"/>
              <a:gd name="connsiteY34" fmla="*/ 3714035 h 3959325"/>
              <a:gd name="connsiteX35" fmla="*/ 5606551 w 9270620"/>
              <a:gd name="connsiteY35" fmla="*/ 3898154 h 3959325"/>
              <a:gd name="connsiteX36" fmla="*/ 5281164 w 9270620"/>
              <a:gd name="connsiteY36" fmla="*/ 3959325 h 3959325"/>
              <a:gd name="connsiteX37" fmla="*/ 4835098 w 9270620"/>
              <a:gd name="connsiteY37" fmla="*/ 3959325 h 3959325"/>
              <a:gd name="connsiteX38" fmla="*/ 4725625 w 9270620"/>
              <a:gd name="connsiteY38" fmla="*/ 3959325 h 3959325"/>
              <a:gd name="connsiteX39" fmla="*/ 4636746 w 9270620"/>
              <a:gd name="connsiteY39" fmla="*/ 3959325 h 3959325"/>
              <a:gd name="connsiteX40" fmla="*/ 0 w 9270620"/>
              <a:gd name="connsiteY40" fmla="*/ 1844070 h 3959325"/>
              <a:gd name="connsiteX41" fmla="*/ 9270620 w 9270620"/>
              <a:gd name="connsiteY41" fmla="*/ 1844070 h 3959325"/>
              <a:gd name="connsiteX42" fmla="*/ 9270620 w 9270620"/>
              <a:gd name="connsiteY42" fmla="*/ 2212762 h 3959325"/>
              <a:gd name="connsiteX43" fmla="*/ 0 w 9270620"/>
              <a:gd name="connsiteY43" fmla="*/ 2212762 h 3959325"/>
              <a:gd name="connsiteX44" fmla="*/ 0 w 9270620"/>
              <a:gd name="connsiteY44" fmla="*/ 1475528 h 3959325"/>
              <a:gd name="connsiteX45" fmla="*/ 9270620 w 9270620"/>
              <a:gd name="connsiteY45" fmla="*/ 1475528 h 3959325"/>
              <a:gd name="connsiteX46" fmla="*/ 9270620 w 9270620"/>
              <a:gd name="connsiteY46" fmla="*/ 1660101 h 3959325"/>
              <a:gd name="connsiteX47" fmla="*/ 0 w 9270620"/>
              <a:gd name="connsiteY47" fmla="*/ 1660101 h 3959325"/>
              <a:gd name="connsiteX48" fmla="*/ 0 w 9270620"/>
              <a:gd name="connsiteY48" fmla="*/ 0 h 3959325"/>
              <a:gd name="connsiteX49" fmla="*/ 9270620 w 9270620"/>
              <a:gd name="connsiteY49" fmla="*/ 0 h 3959325"/>
              <a:gd name="connsiteX50" fmla="*/ 9270620 w 9270620"/>
              <a:gd name="connsiteY50" fmla="*/ 1106839 h 3959325"/>
              <a:gd name="connsiteX51" fmla="*/ 0 w 9270620"/>
              <a:gd name="connsiteY51" fmla="*/ 1106839 h 3959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9270620" h="3959325">
                <a:moveTo>
                  <a:pt x="4835251" y="2948180"/>
                </a:moveTo>
                <a:lnTo>
                  <a:pt x="4835251" y="3779899"/>
                </a:lnTo>
                <a:lnTo>
                  <a:pt x="5282830" y="3779899"/>
                </a:lnTo>
                <a:cubicBezTo>
                  <a:pt x="5419404" y="3779899"/>
                  <a:pt x="5522065" y="3748707"/>
                  <a:pt x="5590803" y="3686324"/>
                </a:cubicBezTo>
                <a:cubicBezTo>
                  <a:pt x="5659548" y="3623943"/>
                  <a:pt x="5693918" y="3528250"/>
                  <a:pt x="5693918" y="3399093"/>
                </a:cubicBezTo>
                <a:lnTo>
                  <a:pt x="5693918" y="3329139"/>
                </a:lnTo>
                <a:cubicBezTo>
                  <a:pt x="5693918" y="3196955"/>
                  <a:pt x="5659548" y="3100352"/>
                  <a:pt x="5590803" y="3039484"/>
                </a:cubicBezTo>
                <a:cubicBezTo>
                  <a:pt x="5521912" y="2978616"/>
                  <a:pt x="5419404" y="2948180"/>
                  <a:pt x="5282830" y="2948180"/>
                </a:cubicBezTo>
                <a:close/>
                <a:moveTo>
                  <a:pt x="7923941" y="2768907"/>
                </a:moveTo>
                <a:lnTo>
                  <a:pt x="8147729" y="2768907"/>
                </a:lnTo>
                <a:lnTo>
                  <a:pt x="8603334" y="3699197"/>
                </a:lnTo>
                <a:lnTo>
                  <a:pt x="9058787" y="2768907"/>
                </a:lnTo>
                <a:lnTo>
                  <a:pt x="9269858" y="2768907"/>
                </a:lnTo>
                <a:lnTo>
                  <a:pt x="8674651" y="3959325"/>
                </a:lnTo>
                <a:lnTo>
                  <a:pt x="8520664" y="3959325"/>
                </a:lnTo>
                <a:close/>
                <a:moveTo>
                  <a:pt x="6265204" y="2768907"/>
                </a:moveTo>
                <a:lnTo>
                  <a:pt x="6349390" y="2768907"/>
                </a:lnTo>
                <a:lnTo>
                  <a:pt x="6458862" y="2768907"/>
                </a:lnTo>
                <a:lnTo>
                  <a:pt x="7379459" y="3699197"/>
                </a:lnTo>
                <a:lnTo>
                  <a:pt x="7379459" y="2768907"/>
                </a:lnTo>
                <a:lnTo>
                  <a:pt x="7574783" y="2768907"/>
                </a:lnTo>
                <a:lnTo>
                  <a:pt x="7574783" y="3959325"/>
                </a:lnTo>
                <a:lnTo>
                  <a:pt x="7379459" y="3959325"/>
                </a:lnTo>
                <a:lnTo>
                  <a:pt x="6458862" y="3030248"/>
                </a:lnTo>
                <a:lnTo>
                  <a:pt x="6458862" y="3959325"/>
                </a:lnTo>
                <a:lnTo>
                  <a:pt x="6265204" y="3959325"/>
                </a:lnTo>
                <a:close/>
                <a:moveTo>
                  <a:pt x="4636746" y="2768907"/>
                </a:moveTo>
                <a:lnTo>
                  <a:pt x="4725625" y="2768907"/>
                </a:lnTo>
                <a:lnTo>
                  <a:pt x="4835098" y="2768907"/>
                </a:lnTo>
                <a:lnTo>
                  <a:pt x="5281164" y="2768907"/>
                </a:lnTo>
                <a:cubicBezTo>
                  <a:pt x="5407140" y="2768907"/>
                  <a:pt x="5515553" y="2789347"/>
                  <a:pt x="5606551" y="2830078"/>
                </a:cubicBezTo>
                <a:cubicBezTo>
                  <a:pt x="5697551" y="2870809"/>
                  <a:pt x="5767352" y="2932130"/>
                  <a:pt x="5816110" y="3014048"/>
                </a:cubicBezTo>
                <a:cubicBezTo>
                  <a:pt x="5864711" y="3096112"/>
                  <a:pt x="5889091" y="3198923"/>
                  <a:pt x="5889091" y="3322781"/>
                </a:cubicBezTo>
                <a:lnTo>
                  <a:pt x="5889091" y="3405301"/>
                </a:lnTo>
                <a:cubicBezTo>
                  <a:pt x="5889091" y="3529156"/>
                  <a:pt x="5864711" y="3631967"/>
                  <a:pt x="5816110" y="3714035"/>
                </a:cubicBezTo>
                <a:cubicBezTo>
                  <a:pt x="5767352" y="3796099"/>
                  <a:pt x="5697551" y="3857423"/>
                  <a:pt x="5606551" y="3898154"/>
                </a:cubicBezTo>
                <a:cubicBezTo>
                  <a:pt x="5515553" y="3938885"/>
                  <a:pt x="5407140" y="3959325"/>
                  <a:pt x="5281164" y="3959325"/>
                </a:cubicBezTo>
                <a:lnTo>
                  <a:pt x="4835098" y="3959325"/>
                </a:lnTo>
                <a:lnTo>
                  <a:pt x="4725625" y="3959325"/>
                </a:lnTo>
                <a:lnTo>
                  <a:pt x="4636746" y="3959325"/>
                </a:lnTo>
                <a:close/>
                <a:moveTo>
                  <a:pt x="0" y="1844070"/>
                </a:moveTo>
                <a:lnTo>
                  <a:pt x="9270620" y="1844070"/>
                </a:lnTo>
                <a:lnTo>
                  <a:pt x="9270620" y="2212762"/>
                </a:lnTo>
                <a:lnTo>
                  <a:pt x="0" y="2212762"/>
                </a:lnTo>
                <a:close/>
                <a:moveTo>
                  <a:pt x="0" y="1475528"/>
                </a:moveTo>
                <a:lnTo>
                  <a:pt x="9270620" y="1475528"/>
                </a:lnTo>
                <a:lnTo>
                  <a:pt x="9270620" y="1660101"/>
                </a:lnTo>
                <a:lnTo>
                  <a:pt x="0" y="1660101"/>
                </a:lnTo>
                <a:close/>
                <a:moveTo>
                  <a:pt x="0" y="0"/>
                </a:moveTo>
                <a:lnTo>
                  <a:pt x="9270620" y="0"/>
                </a:lnTo>
                <a:lnTo>
                  <a:pt x="9270620" y="1106839"/>
                </a:lnTo>
                <a:lnTo>
                  <a:pt x="0" y="1106839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sp>
        <p:nvSpPr>
          <p:cNvPr id="13" name="Text Placeholder 51">
            <a:extLst>
              <a:ext uri="{FF2B5EF4-FFF2-40B4-BE49-F238E27FC236}">
                <a16:creationId xmlns:a16="http://schemas.microsoft.com/office/drawing/2014/main" id="{365B6A09-D9FD-4ED0-98F5-8CCC60EAA84E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 bwMode="white">
          <a:xfrm>
            <a:off x="9950400" y="540000"/>
            <a:ext cx="1702800" cy="110911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sp>
        <p:nvSpPr>
          <p:cNvPr id="39" name="_SD_FLD_DocumentNumber">
            <a:extLst>
              <a:ext uri="{FF2B5EF4-FFF2-40B4-BE49-F238E27FC236}">
                <a16:creationId xmlns:a16="http://schemas.microsoft.com/office/drawing/2014/main" id="{6D4A75F9-9621-4F28-A6CF-B645F5EF9C9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40001" y="6440400"/>
            <a:ext cx="1701550" cy="151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l">
              <a:spcBef>
                <a:spcPts val="0"/>
              </a:spcBef>
            </a:pPr>
            <a:endParaRPr lang="en-GB" altLang="ja-JP" sz="700" dirty="0">
              <a:solidFill>
                <a:schemeClr val="accent1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16" name="SD_FLD_Draft" hidden="1">
            <a:extLst>
              <a:ext uri="{FF2B5EF4-FFF2-40B4-BE49-F238E27FC236}">
                <a16:creationId xmlns:a16="http://schemas.microsoft.com/office/drawing/2014/main" id="{BD7D6A25-4428-4539-B039-5FC4AADC87C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17" name="SD_FLD_Confidentiality">
            <a:extLst>
              <a:ext uri="{FF2B5EF4-FFF2-40B4-BE49-F238E27FC236}">
                <a16:creationId xmlns:a16="http://schemas.microsoft.com/office/drawing/2014/main" id="{31AB39E5-0741-4771-B91F-E17E5133945B}"/>
              </a:ext>
            </a:extLst>
          </p:cNvPr>
          <p:cNvSpPr/>
          <p:nvPr userDrawn="1"/>
        </p:nvSpPr>
        <p:spPr>
          <a:xfrm>
            <a:off x="7131600" y="6440400"/>
            <a:ext cx="2440800" cy="1512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GB" sz="700" b="0" kern="1200" cap="all" baseline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E7010F2-E87C-4A37-82E8-9658961C63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6128743"/>
            <a:ext cx="8290797" cy="214833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GB"/>
              <a:t>Insert date DD Month Year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34004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high-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blipFill>
            <a:blip r:embed="rId3"/>
            <a:stretch>
              <a:fillRect/>
            </a:stretch>
          </a:blipFill>
        </p:spPr>
        <p:txBody>
          <a:bodyPr lIns="8064000" tIns="576000" rIns="1080000" anchor="ctr" anchorCtr="0"/>
          <a:lstStyle>
            <a:lvl1pPr marL="0" indent="0" algn="l">
              <a:buFontTx/>
              <a:buNone/>
              <a:defRPr sz="1600" b="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on picture frame to insert background picture, click on DNV-menu / Image Tools-button / Choose Insert or Paste</a:t>
            </a:r>
            <a:endParaRPr lang="en-GB" dirty="0"/>
          </a:p>
        </p:txBody>
      </p:sp>
      <p:sp>
        <p:nvSpPr>
          <p:cNvPr id="39" name="_SD_FLD_DocumentNumber">
            <a:extLst>
              <a:ext uri="{FF2B5EF4-FFF2-40B4-BE49-F238E27FC236}">
                <a16:creationId xmlns:a16="http://schemas.microsoft.com/office/drawing/2014/main" id="{6D4A75F9-9621-4F28-A6CF-B645F5EF9C9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40001" y="6440400"/>
            <a:ext cx="1701550" cy="151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l">
              <a:spcBef>
                <a:spcPts val="0"/>
              </a:spcBef>
            </a:pPr>
            <a:endParaRPr lang="en-GB" altLang="ja-JP" sz="700" dirty="0">
              <a:solidFill>
                <a:schemeClr val="accent1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16" name="SD_FLD_Draft" hidden="1">
            <a:extLst>
              <a:ext uri="{FF2B5EF4-FFF2-40B4-BE49-F238E27FC236}">
                <a16:creationId xmlns:a16="http://schemas.microsoft.com/office/drawing/2014/main" id="{BD7D6A25-4428-4539-B039-5FC4AADC87C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17" name="SD_FLD_Confidentiality">
            <a:extLst>
              <a:ext uri="{FF2B5EF4-FFF2-40B4-BE49-F238E27FC236}">
                <a16:creationId xmlns:a16="http://schemas.microsoft.com/office/drawing/2014/main" id="{31AB39E5-0741-4771-B91F-E17E5133945B}"/>
              </a:ext>
            </a:extLst>
          </p:cNvPr>
          <p:cNvSpPr/>
          <p:nvPr userDrawn="1"/>
        </p:nvSpPr>
        <p:spPr>
          <a:xfrm>
            <a:off x="7131600" y="6440400"/>
            <a:ext cx="2440800" cy="1512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GB" sz="700" b="0" kern="1200" cap="all" baseline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3" name="Top white Text Placeholder 62">
            <a:extLst>
              <a:ext uri="{FF2B5EF4-FFF2-40B4-BE49-F238E27FC236}">
                <a16:creationId xmlns:a16="http://schemas.microsoft.com/office/drawing/2014/main" id="{86FA6806-F06F-4815-9C58-9A21745653C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39750" y="-1"/>
            <a:ext cx="6407150" cy="3429001"/>
          </a:xfrm>
          <a:solidFill>
            <a:schemeClr val="bg1"/>
          </a:solid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sp>
        <p:nvSpPr>
          <p:cNvPr id="65" name="Top blue Text Placeholder 64">
            <a:extLst>
              <a:ext uri="{FF2B5EF4-FFF2-40B4-BE49-F238E27FC236}">
                <a16:creationId xmlns:a16="http://schemas.microsoft.com/office/drawing/2014/main" id="{44396705-2401-41FF-AC70-D3109287988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40000" y="3390298"/>
            <a:ext cx="6408000" cy="1234800"/>
          </a:xfrm>
          <a:solidFill>
            <a:schemeClr val="tx2"/>
          </a:solidFill>
          <a:ln>
            <a:noFill/>
          </a:ln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8E2B2C2-0C1A-4F16-AB97-87EF9E7EAEE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80000" y="1592796"/>
            <a:ext cx="5320800" cy="1436524"/>
          </a:xfrm>
        </p:spPr>
        <p:txBody>
          <a:bodyPr anchor="t" anchorCtr="0">
            <a:noAutofit/>
          </a:bodyPr>
          <a:lstStyle>
            <a:lvl1pPr>
              <a:lnSpc>
                <a:spcPct val="83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55756018-EA5B-4F5B-8ECA-D5A1005CDF4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76398" y="3661200"/>
            <a:ext cx="5342402" cy="316800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ts val="0"/>
              </a:spcBef>
              <a:buNone/>
              <a:defRPr lang="en-US" sz="2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add subtitle</a:t>
            </a:r>
            <a:endParaRPr lang="en-GB" dirty="0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795036F0-513C-4690-81A2-F2137A557DC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80000" y="3114000"/>
            <a:ext cx="5320800" cy="259200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400" b="0">
                <a:solidFill>
                  <a:schemeClr val="tx2"/>
                </a:solidFill>
              </a:defRPr>
            </a:lvl1pPr>
            <a:lvl2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2pPr>
            <a:lvl3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3pPr>
            <a:lvl4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4pPr>
            <a:lvl5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5pPr>
          </a:lstStyle>
          <a:p>
            <a:pPr lvl="0"/>
            <a:r>
              <a:rPr lang="en-GB" dirty="0"/>
              <a:t>Insert date DD Month Year</a:t>
            </a:r>
            <a:endParaRPr lang="en-US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E7010F2-E87C-4A37-82E8-9658961C63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80001" y="4021200"/>
            <a:ext cx="5320800" cy="396000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to add name, title etc..</a:t>
            </a:r>
          </a:p>
          <a:p>
            <a:pPr lvl="0"/>
            <a:endParaRPr lang="en-GB" dirty="0"/>
          </a:p>
        </p:txBody>
      </p:sp>
      <p:sp>
        <p:nvSpPr>
          <p:cNvPr id="67" name="Logo Text Placeholder 66">
            <a:extLst>
              <a:ext uri="{FF2B5EF4-FFF2-40B4-BE49-F238E27FC236}">
                <a16:creationId xmlns:a16="http://schemas.microsoft.com/office/drawing/2014/main" id="{8F2A53FB-F4DD-4718-B83E-681A97D8089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80000" y="540000"/>
            <a:ext cx="1702800" cy="727200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sp>
        <p:nvSpPr>
          <p:cNvPr id="69" name="Tagline Text Placeholder 68">
            <a:extLst>
              <a:ext uri="{FF2B5EF4-FFF2-40B4-BE49-F238E27FC236}">
                <a16:creationId xmlns:a16="http://schemas.microsoft.com/office/drawing/2014/main" id="{B2E61313-541F-4AA3-BFA3-10A9209FA81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716000" y="540000"/>
            <a:ext cx="1702800" cy="11160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sp>
        <p:nvSpPr>
          <p:cNvPr id="41" name="Date Placeholder 12" hidden="1">
            <a:extLst>
              <a:ext uri="{FF2B5EF4-FFF2-40B4-BE49-F238E27FC236}">
                <a16:creationId xmlns:a16="http://schemas.microsoft.com/office/drawing/2014/main" id="{F8C7B2A1-0C6D-4367-B22A-DB1D1248E7E8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v. 1.0</a:t>
            </a:r>
            <a:endParaRPr lang="en-GB" dirty="0"/>
          </a:p>
        </p:txBody>
      </p:sp>
      <p:sp>
        <p:nvSpPr>
          <p:cNvPr id="42" name="Footer Placeholder 23" hidden="1">
            <a:extLst>
              <a:ext uri="{FF2B5EF4-FFF2-40B4-BE49-F238E27FC236}">
                <a16:creationId xmlns:a16="http://schemas.microsoft.com/office/drawing/2014/main" id="{70E9D16D-FE2F-4908-ABD5-BB45ECB4099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>
                <a:noFill/>
              </a:rPr>
              <a:t>Maritime Cyber Security</a:t>
            </a:r>
            <a:endParaRPr lang="en-GB" dirty="0">
              <a:noFill/>
            </a:endParaRPr>
          </a:p>
        </p:txBody>
      </p:sp>
      <p:sp>
        <p:nvSpPr>
          <p:cNvPr id="43" name="Slide Number Placeholder 24" hidden="1">
            <a:extLst>
              <a:ext uri="{FF2B5EF4-FFF2-40B4-BE49-F238E27FC236}">
                <a16:creationId xmlns:a16="http://schemas.microsoft.com/office/drawing/2014/main" id="{393087B7-ABFA-4120-819F-40E9D4ED116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sz="1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073497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11EE7B84-21D7-4D19-B8C2-98FB782C5002}"/>
              </a:ext>
            </a:extLst>
          </p:cNvPr>
          <p:cNvSpPr/>
          <p:nvPr userDrawn="1"/>
        </p:nvSpPr>
        <p:spPr>
          <a:xfrm>
            <a:off x="10892788" y="3428991"/>
            <a:ext cx="1299210" cy="343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C9E16D1-DD8A-448B-8C91-3F9644937B8A}"/>
              </a:ext>
            </a:extLst>
          </p:cNvPr>
          <p:cNvSpPr/>
          <p:nvPr userDrawn="1"/>
        </p:nvSpPr>
        <p:spPr>
          <a:xfrm>
            <a:off x="10892788" y="0"/>
            <a:ext cx="1299210" cy="342899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353A26F8-896D-4566-BE5C-C8CD2E8BB8E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3428993"/>
            <a:ext cx="10892788" cy="342900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wrap="square" lIns="3348000" rIns="3060000">
            <a:noAutofit/>
          </a:bodyPr>
          <a:lstStyle>
            <a:lvl1pPr marL="0" indent="0" algn="l">
              <a:buFontTx/>
              <a:buNone/>
              <a:defRPr sz="1600" b="0">
                <a:solidFill>
                  <a:schemeClr val="accent4"/>
                </a:solidFill>
              </a:defRPr>
            </a:lvl1pPr>
          </a:lstStyle>
          <a:p>
            <a:r>
              <a:rPr lang="en-GB"/>
              <a:t>Click on picture frame to insert background picture, click on DNV-menu / Image Tools-button / Choose Insert or Past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9750" y="1591200"/>
            <a:ext cx="6586538" cy="977407"/>
          </a:xfrm>
        </p:spPr>
        <p:txBody>
          <a:bodyPr anchor="t" anchorCtr="0">
            <a:noAutofit/>
          </a:bodyPr>
          <a:lstStyle>
            <a:lvl1pPr>
              <a:lnSpc>
                <a:spcPct val="83000"/>
              </a:lnSpc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9750" y="2620800"/>
            <a:ext cx="6586538" cy="316800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ts val="0"/>
              </a:spcBef>
              <a:buNone/>
              <a:defRPr lang="en-US" sz="20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add subtit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2D590D-63DF-49A5-B495-2B2E9EA7D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9750" y="2980800"/>
            <a:ext cx="6586538" cy="396000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>
                <a:solidFill>
                  <a:schemeClr val="accent1"/>
                </a:solidFill>
              </a:defRPr>
            </a:lvl1pPr>
            <a:lvl2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2pPr>
            <a:lvl3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3pPr>
            <a:lvl4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4pPr>
            <a:lvl5pPr marL="0" indent="0">
              <a:lnSpc>
                <a:spcPct val="83000"/>
              </a:lnSpc>
              <a:spcBef>
                <a:spcPts val="0"/>
              </a:spcBef>
              <a:buNone/>
              <a:tabLst/>
              <a:defRPr sz="1400" b="0"/>
            </a:lvl5pPr>
          </a:lstStyle>
          <a:p>
            <a:pPr lvl="0"/>
            <a:r>
              <a:rPr lang="en-GB"/>
              <a:t>Click to add name, title etc..</a:t>
            </a:r>
            <a:endParaRPr lang="en-GB" dirty="0"/>
          </a:p>
        </p:txBody>
      </p:sp>
      <p:sp>
        <p:nvSpPr>
          <p:cNvPr id="13" name="Date Placeholder 12" hidden="1"/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v. 1.0</a:t>
            </a:r>
            <a:endParaRPr lang="en-GB" dirty="0"/>
          </a:p>
        </p:txBody>
      </p:sp>
      <p:sp>
        <p:nvSpPr>
          <p:cNvPr id="24" name="Footer Placeholder 23" hidden="1"/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>
                <a:noFill/>
              </a:rPr>
              <a:t>Maritime Cyber Security</a:t>
            </a:r>
            <a:endParaRPr lang="en-GB" dirty="0">
              <a:noFill/>
            </a:endParaRPr>
          </a:p>
        </p:txBody>
      </p:sp>
      <p:sp>
        <p:nvSpPr>
          <p:cNvPr id="25" name="Slide Number Placeholder 24" hidden="1"/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sz="100" dirty="0"/>
          </a:p>
        </p:txBody>
      </p:sp>
      <p:sp>
        <p:nvSpPr>
          <p:cNvPr id="29" name="_SD_FLD_DocumentNumber"/>
          <p:cNvSpPr txBox="1">
            <a:spLocks noChangeArrowheads="1"/>
          </p:cNvSpPr>
          <p:nvPr userDrawn="1"/>
        </p:nvSpPr>
        <p:spPr bwMode="auto">
          <a:xfrm>
            <a:off x="540001" y="6440400"/>
            <a:ext cx="1701550" cy="151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l">
              <a:spcBef>
                <a:spcPts val="0"/>
              </a:spcBef>
            </a:pPr>
            <a:endParaRPr lang="en-GB" altLang="ja-JP" sz="700" dirty="0">
              <a:solidFill>
                <a:schemeClr val="accent1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46" name="SD_FLD_Confidentiality">
            <a:extLst>
              <a:ext uri="{FF2B5EF4-FFF2-40B4-BE49-F238E27FC236}">
                <a16:creationId xmlns:a16="http://schemas.microsoft.com/office/drawing/2014/main" id="{4E7786D1-21E1-42FD-A034-CC844823A79D}"/>
              </a:ext>
            </a:extLst>
          </p:cNvPr>
          <p:cNvSpPr/>
          <p:nvPr userDrawn="1"/>
        </p:nvSpPr>
        <p:spPr>
          <a:xfrm>
            <a:off x="7126289" y="3095995"/>
            <a:ext cx="3223962" cy="22366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marL="0" algn="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GB" sz="700" b="0" kern="1200" cap="all" baseline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7" name="SD_FLD_DocumentDate">
            <a:extLst>
              <a:ext uri="{FF2B5EF4-FFF2-40B4-BE49-F238E27FC236}">
                <a16:creationId xmlns:a16="http://schemas.microsoft.com/office/drawing/2014/main" id="{8708ADB9-3B0F-453F-A039-DB1191DA8B6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126289" y="2983229"/>
            <a:ext cx="3223962" cy="1890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r">
              <a:lnSpc>
                <a:spcPct val="83000"/>
              </a:lnSpc>
              <a:spcBef>
                <a:spcPts val="0"/>
              </a:spcBef>
            </a:pPr>
            <a:endParaRPr lang="en-GB" altLang="ja-JP" sz="1400" cap="none" baseline="0" dirty="0">
              <a:solidFill>
                <a:schemeClr val="accent1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39" name="SD_FLD_Draft" hidden="1">
            <a:extLst>
              <a:ext uri="{FF2B5EF4-FFF2-40B4-BE49-F238E27FC236}">
                <a16:creationId xmlns:a16="http://schemas.microsoft.com/office/drawing/2014/main" id="{2F1643DB-FB69-4D52-AC31-87438698FFD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grpSp>
        <p:nvGrpSpPr>
          <p:cNvPr id="38" name="Logo">
            <a:extLst>
              <a:ext uri="{FF2B5EF4-FFF2-40B4-BE49-F238E27FC236}">
                <a16:creationId xmlns:a16="http://schemas.microsoft.com/office/drawing/2014/main" id="{196DDB45-CDCA-476F-809B-C62C8425576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40000" y="540001"/>
            <a:ext cx="1702800" cy="727237"/>
            <a:chOff x="6380216" y="4059273"/>
            <a:chExt cx="2905863" cy="1241045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9AE0E04-A811-402C-9CE3-BBE238EC2F38}"/>
                </a:ext>
              </a:extLst>
            </p:cNvPr>
            <p:cNvSpPr/>
            <p:nvPr/>
          </p:nvSpPr>
          <p:spPr>
            <a:xfrm>
              <a:off x="6380216" y="4059273"/>
              <a:ext cx="2905863" cy="346936"/>
            </a:xfrm>
            <a:custGeom>
              <a:avLst/>
              <a:gdLst>
                <a:gd name="connsiteX0" fmla="*/ 0 w 2905863"/>
                <a:gd name="connsiteY0" fmla="*/ 0 h 346936"/>
                <a:gd name="connsiteX1" fmla="*/ 2905864 w 2905863"/>
                <a:gd name="connsiteY1" fmla="*/ 0 h 346936"/>
                <a:gd name="connsiteX2" fmla="*/ 2905864 w 2905863"/>
                <a:gd name="connsiteY2" fmla="*/ 346937 h 346936"/>
                <a:gd name="connsiteX3" fmla="*/ 0 w 2905863"/>
                <a:gd name="connsiteY3" fmla="*/ 346937 h 34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346936">
                  <a:moveTo>
                    <a:pt x="0" y="0"/>
                  </a:moveTo>
                  <a:lnTo>
                    <a:pt x="2905864" y="0"/>
                  </a:lnTo>
                  <a:lnTo>
                    <a:pt x="2905864" y="346937"/>
                  </a:lnTo>
                  <a:lnTo>
                    <a:pt x="0" y="346937"/>
                  </a:lnTo>
                  <a:close/>
                </a:path>
              </a:pathLst>
            </a:custGeom>
            <a:solidFill>
              <a:srgbClr val="99D9F0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380A0FC-DDF7-4C0C-ACFB-2F429FB7948A}"/>
                </a:ext>
              </a:extLst>
            </p:cNvPr>
            <p:cNvSpPr/>
            <p:nvPr/>
          </p:nvSpPr>
          <p:spPr>
            <a:xfrm>
              <a:off x="6380216" y="4521775"/>
              <a:ext cx="2905863" cy="57854"/>
            </a:xfrm>
            <a:custGeom>
              <a:avLst/>
              <a:gdLst>
                <a:gd name="connsiteX0" fmla="*/ 0 w 2905863"/>
                <a:gd name="connsiteY0" fmla="*/ 0 h 57854"/>
                <a:gd name="connsiteX1" fmla="*/ 2905864 w 2905863"/>
                <a:gd name="connsiteY1" fmla="*/ 0 h 57854"/>
                <a:gd name="connsiteX2" fmla="*/ 2905864 w 2905863"/>
                <a:gd name="connsiteY2" fmla="*/ 57854 h 57854"/>
                <a:gd name="connsiteX3" fmla="*/ 0 w 2905863"/>
                <a:gd name="connsiteY3" fmla="*/ 57854 h 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57854">
                  <a:moveTo>
                    <a:pt x="0" y="0"/>
                  </a:moveTo>
                  <a:lnTo>
                    <a:pt x="2905864" y="0"/>
                  </a:lnTo>
                  <a:lnTo>
                    <a:pt x="2905864" y="57854"/>
                  </a:lnTo>
                  <a:lnTo>
                    <a:pt x="0" y="57854"/>
                  </a:lnTo>
                  <a:close/>
                </a:path>
              </a:pathLst>
            </a:custGeom>
            <a:solidFill>
              <a:srgbClr val="3F9C35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79E4B05-CB75-4B58-9E28-2FAA335E1493}"/>
                </a:ext>
              </a:extLst>
            </p:cNvPr>
            <p:cNvSpPr/>
            <p:nvPr/>
          </p:nvSpPr>
          <p:spPr>
            <a:xfrm>
              <a:off x="6380216" y="4637294"/>
              <a:ext cx="2905863" cy="115566"/>
            </a:xfrm>
            <a:custGeom>
              <a:avLst/>
              <a:gdLst>
                <a:gd name="connsiteX0" fmla="*/ 0 w 2905863"/>
                <a:gd name="connsiteY0" fmla="*/ 0 h 115566"/>
                <a:gd name="connsiteX1" fmla="*/ 2905864 w 2905863"/>
                <a:gd name="connsiteY1" fmla="*/ 0 h 115566"/>
                <a:gd name="connsiteX2" fmla="*/ 2905864 w 2905863"/>
                <a:gd name="connsiteY2" fmla="*/ 115566 h 115566"/>
                <a:gd name="connsiteX3" fmla="*/ 0 w 2905863"/>
                <a:gd name="connsiteY3" fmla="*/ 115566 h 115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115566">
                  <a:moveTo>
                    <a:pt x="0" y="0"/>
                  </a:moveTo>
                  <a:lnTo>
                    <a:pt x="2905864" y="0"/>
                  </a:lnTo>
                  <a:lnTo>
                    <a:pt x="2905864" y="115566"/>
                  </a:lnTo>
                  <a:lnTo>
                    <a:pt x="0" y="115566"/>
                  </a:lnTo>
                  <a:close/>
                </a:path>
              </a:pathLst>
            </a:custGeom>
            <a:solidFill>
              <a:srgbClr val="00359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BED928C2-5DAA-462E-90D6-80E99E2F3A77}"/>
                </a:ext>
              </a:extLst>
            </p:cNvPr>
            <p:cNvSpPr/>
            <p:nvPr/>
          </p:nvSpPr>
          <p:spPr>
            <a:xfrm>
              <a:off x="7833598" y="4927183"/>
              <a:ext cx="392545" cy="373134"/>
            </a:xfrm>
            <a:custGeom>
              <a:avLst/>
              <a:gdLst>
                <a:gd name="connsiteX0" fmla="*/ 303984 w 392545"/>
                <a:gd name="connsiteY0" fmla="*/ 19174 h 373134"/>
                <a:gd name="connsiteX1" fmla="*/ 201992 w 392545"/>
                <a:gd name="connsiteY1" fmla="*/ 0 h 373134"/>
                <a:gd name="connsiteX2" fmla="*/ 62173 w 392545"/>
                <a:gd name="connsiteY2" fmla="*/ 0 h 373134"/>
                <a:gd name="connsiteX3" fmla="*/ 27859 w 392545"/>
                <a:gd name="connsiteY3" fmla="*/ 0 h 373134"/>
                <a:gd name="connsiteX4" fmla="*/ 0 w 392545"/>
                <a:gd name="connsiteY4" fmla="*/ 0 h 373134"/>
                <a:gd name="connsiteX5" fmla="*/ 0 w 392545"/>
                <a:gd name="connsiteY5" fmla="*/ 373135 h 373134"/>
                <a:gd name="connsiteX6" fmla="*/ 27859 w 392545"/>
                <a:gd name="connsiteY6" fmla="*/ 373135 h 373134"/>
                <a:gd name="connsiteX7" fmla="*/ 62173 w 392545"/>
                <a:gd name="connsiteY7" fmla="*/ 373135 h 373134"/>
                <a:gd name="connsiteX8" fmla="*/ 201992 w 392545"/>
                <a:gd name="connsiteY8" fmla="*/ 373135 h 373134"/>
                <a:gd name="connsiteX9" fmla="*/ 303984 w 392545"/>
                <a:gd name="connsiteY9" fmla="*/ 353961 h 373134"/>
                <a:gd name="connsiteX10" fmla="*/ 369670 w 392545"/>
                <a:gd name="connsiteY10" fmla="*/ 296249 h 373134"/>
                <a:gd name="connsiteX11" fmla="*/ 392546 w 392545"/>
                <a:gd name="connsiteY11" fmla="*/ 199477 h 373134"/>
                <a:gd name="connsiteX12" fmla="*/ 392546 w 392545"/>
                <a:gd name="connsiteY12" fmla="*/ 173611 h 373134"/>
                <a:gd name="connsiteX13" fmla="*/ 369670 w 392545"/>
                <a:gd name="connsiteY13" fmla="*/ 76839 h 373134"/>
                <a:gd name="connsiteX14" fmla="*/ 303984 w 392545"/>
                <a:gd name="connsiteY14" fmla="*/ 19174 h 373134"/>
                <a:gd name="connsiteX15" fmla="*/ 331369 w 392545"/>
                <a:gd name="connsiteY15" fmla="*/ 197531 h 373134"/>
                <a:gd name="connsiteX16" fmla="*/ 299048 w 392545"/>
                <a:gd name="connsiteY16" fmla="*/ 287563 h 373134"/>
                <a:gd name="connsiteX17" fmla="*/ 202514 w 392545"/>
                <a:gd name="connsiteY17" fmla="*/ 316894 h 373134"/>
                <a:gd name="connsiteX18" fmla="*/ 62221 w 392545"/>
                <a:gd name="connsiteY18" fmla="*/ 316894 h 373134"/>
                <a:gd name="connsiteX19" fmla="*/ 62221 w 392545"/>
                <a:gd name="connsiteY19" fmla="*/ 56193 h 373134"/>
                <a:gd name="connsiteX20" fmla="*/ 202514 w 392545"/>
                <a:gd name="connsiteY20" fmla="*/ 56193 h 373134"/>
                <a:gd name="connsiteX21" fmla="*/ 299048 w 392545"/>
                <a:gd name="connsiteY21" fmla="*/ 84812 h 373134"/>
                <a:gd name="connsiteX22" fmla="*/ 331369 w 392545"/>
                <a:gd name="connsiteY22" fmla="*/ 175604 h 373134"/>
                <a:gd name="connsiteX23" fmla="*/ 331369 w 392545"/>
                <a:gd name="connsiteY23" fmla="*/ 197531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2545" h="373134">
                  <a:moveTo>
                    <a:pt x="303984" y="19174"/>
                  </a:moveTo>
                  <a:cubicBezTo>
                    <a:pt x="275461" y="6407"/>
                    <a:pt x="241479" y="0"/>
                    <a:pt x="201992" y="0"/>
                  </a:cubicBezTo>
                  <a:lnTo>
                    <a:pt x="62173" y="0"/>
                  </a:lnTo>
                  <a:lnTo>
                    <a:pt x="27859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27859" y="373135"/>
                  </a:lnTo>
                  <a:lnTo>
                    <a:pt x="62173" y="373135"/>
                  </a:lnTo>
                  <a:lnTo>
                    <a:pt x="201992" y="373135"/>
                  </a:lnTo>
                  <a:cubicBezTo>
                    <a:pt x="241479" y="373135"/>
                    <a:pt x="275461" y="366728"/>
                    <a:pt x="303984" y="353961"/>
                  </a:cubicBezTo>
                  <a:cubicBezTo>
                    <a:pt x="332508" y="341194"/>
                    <a:pt x="354387" y="321972"/>
                    <a:pt x="369670" y="296249"/>
                  </a:cubicBezTo>
                  <a:cubicBezTo>
                    <a:pt x="384904" y="270525"/>
                    <a:pt x="392546" y="238299"/>
                    <a:pt x="392546" y="199477"/>
                  </a:cubicBezTo>
                  <a:lnTo>
                    <a:pt x="392546" y="173611"/>
                  </a:lnTo>
                  <a:cubicBezTo>
                    <a:pt x="392546" y="134788"/>
                    <a:pt x="384904" y="102562"/>
                    <a:pt x="369670" y="76839"/>
                  </a:cubicBezTo>
                  <a:cubicBezTo>
                    <a:pt x="354387" y="51162"/>
                    <a:pt x="332508" y="31941"/>
                    <a:pt x="303984" y="19174"/>
                  </a:cubicBezTo>
                  <a:close/>
                  <a:moveTo>
                    <a:pt x="331369" y="197531"/>
                  </a:moveTo>
                  <a:cubicBezTo>
                    <a:pt x="331369" y="238015"/>
                    <a:pt x="320596" y="268010"/>
                    <a:pt x="299048" y="287563"/>
                  </a:cubicBezTo>
                  <a:cubicBezTo>
                    <a:pt x="277502" y="307117"/>
                    <a:pt x="245323" y="316894"/>
                    <a:pt x="202514" y="316894"/>
                  </a:cubicBezTo>
                  <a:lnTo>
                    <a:pt x="62221" y="316894"/>
                  </a:lnTo>
                  <a:lnTo>
                    <a:pt x="62221" y="56193"/>
                  </a:lnTo>
                  <a:lnTo>
                    <a:pt x="202514" y="56193"/>
                  </a:lnTo>
                  <a:cubicBezTo>
                    <a:pt x="245323" y="56193"/>
                    <a:pt x="277454" y="65733"/>
                    <a:pt x="299048" y="84812"/>
                  </a:cubicBezTo>
                  <a:cubicBezTo>
                    <a:pt x="320596" y="103891"/>
                    <a:pt x="331369" y="134171"/>
                    <a:pt x="331369" y="175604"/>
                  </a:cubicBezTo>
                  <a:lnTo>
                    <a:pt x="331369" y="197531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E08F6C9-1226-467B-81CC-D21D6869BD16}"/>
                </a:ext>
              </a:extLst>
            </p:cNvPr>
            <p:cNvSpPr/>
            <p:nvPr/>
          </p:nvSpPr>
          <p:spPr>
            <a:xfrm>
              <a:off x="8344036" y="4927183"/>
              <a:ext cx="410485" cy="373134"/>
            </a:xfrm>
            <a:custGeom>
              <a:avLst/>
              <a:gdLst>
                <a:gd name="connsiteX0" fmla="*/ 349262 w 410485"/>
                <a:gd name="connsiteY0" fmla="*/ 291598 h 373134"/>
                <a:gd name="connsiteX1" fmla="*/ 60702 w 410485"/>
                <a:gd name="connsiteY1" fmla="*/ 0 h 373134"/>
                <a:gd name="connsiteX2" fmla="*/ 26388 w 410485"/>
                <a:gd name="connsiteY2" fmla="*/ 0 h 373134"/>
                <a:gd name="connsiteX3" fmla="*/ 0 w 410485"/>
                <a:gd name="connsiteY3" fmla="*/ 0 h 373134"/>
                <a:gd name="connsiteX4" fmla="*/ 0 w 410485"/>
                <a:gd name="connsiteY4" fmla="*/ 373135 h 373134"/>
                <a:gd name="connsiteX5" fmla="*/ 60702 w 410485"/>
                <a:gd name="connsiteY5" fmla="*/ 373135 h 373134"/>
                <a:gd name="connsiteX6" fmla="*/ 60702 w 410485"/>
                <a:gd name="connsiteY6" fmla="*/ 81917 h 373134"/>
                <a:gd name="connsiteX7" fmla="*/ 349262 w 410485"/>
                <a:gd name="connsiteY7" fmla="*/ 373135 h 373134"/>
                <a:gd name="connsiteX8" fmla="*/ 410486 w 410485"/>
                <a:gd name="connsiteY8" fmla="*/ 373135 h 373134"/>
                <a:gd name="connsiteX9" fmla="*/ 410486 w 410485"/>
                <a:gd name="connsiteY9" fmla="*/ 0 h 373134"/>
                <a:gd name="connsiteX10" fmla="*/ 349262 w 410485"/>
                <a:gd name="connsiteY10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485" h="373134">
                  <a:moveTo>
                    <a:pt x="349262" y="291598"/>
                  </a:moveTo>
                  <a:lnTo>
                    <a:pt x="60702" y="0"/>
                  </a:lnTo>
                  <a:lnTo>
                    <a:pt x="26388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60702" y="373135"/>
                  </a:lnTo>
                  <a:lnTo>
                    <a:pt x="60702" y="81917"/>
                  </a:lnTo>
                  <a:lnTo>
                    <a:pt x="349262" y="373135"/>
                  </a:lnTo>
                  <a:lnTo>
                    <a:pt x="410486" y="373135"/>
                  </a:lnTo>
                  <a:lnTo>
                    <a:pt x="410486" y="0"/>
                  </a:lnTo>
                  <a:lnTo>
                    <a:pt x="349262" y="0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9EBFF170-9966-4D97-BD59-699C843D4DB9}"/>
                </a:ext>
              </a:extLst>
            </p:cNvPr>
            <p:cNvSpPr/>
            <p:nvPr/>
          </p:nvSpPr>
          <p:spPr>
            <a:xfrm>
              <a:off x="8863965" y="4927183"/>
              <a:ext cx="421876" cy="373134"/>
            </a:xfrm>
            <a:custGeom>
              <a:avLst/>
              <a:gdLst>
                <a:gd name="connsiteX0" fmla="*/ 355716 w 421876"/>
                <a:gd name="connsiteY0" fmla="*/ 0 h 373134"/>
                <a:gd name="connsiteX1" fmla="*/ 212955 w 421876"/>
                <a:gd name="connsiteY1" fmla="*/ 291598 h 373134"/>
                <a:gd name="connsiteX2" fmla="*/ 70146 w 421876"/>
                <a:gd name="connsiteY2" fmla="*/ 0 h 373134"/>
                <a:gd name="connsiteX3" fmla="*/ 0 w 421876"/>
                <a:gd name="connsiteY3" fmla="*/ 0 h 373134"/>
                <a:gd name="connsiteX4" fmla="*/ 187042 w 421876"/>
                <a:gd name="connsiteY4" fmla="*/ 373135 h 373134"/>
                <a:gd name="connsiteX5" fmla="*/ 235309 w 421876"/>
                <a:gd name="connsiteY5" fmla="*/ 373135 h 373134"/>
                <a:gd name="connsiteX6" fmla="*/ 421876 w 421876"/>
                <a:gd name="connsiteY6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876" h="373134">
                  <a:moveTo>
                    <a:pt x="355716" y="0"/>
                  </a:moveTo>
                  <a:lnTo>
                    <a:pt x="212955" y="291598"/>
                  </a:lnTo>
                  <a:lnTo>
                    <a:pt x="70146" y="0"/>
                  </a:lnTo>
                  <a:lnTo>
                    <a:pt x="0" y="0"/>
                  </a:lnTo>
                  <a:lnTo>
                    <a:pt x="187042" y="373135"/>
                  </a:lnTo>
                  <a:lnTo>
                    <a:pt x="235309" y="373135"/>
                  </a:lnTo>
                  <a:lnTo>
                    <a:pt x="421876" y="0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47" name="TAGLINE 60Black">
            <a:extLst>
              <a:ext uri="{FF2B5EF4-FFF2-40B4-BE49-F238E27FC236}">
                <a16:creationId xmlns:a16="http://schemas.microsoft.com/office/drawing/2014/main" id="{1DDB6F67-2C8F-419C-A09A-62A18305D40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46865" y="539750"/>
            <a:ext cx="1703386" cy="11068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596263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Logo">
            <a:extLst>
              <a:ext uri="{FF2B5EF4-FFF2-40B4-BE49-F238E27FC236}">
                <a16:creationId xmlns:a16="http://schemas.microsoft.com/office/drawing/2014/main" id="{695A7F22-D090-4AF8-A177-30D9606CFDBE}"/>
              </a:ext>
            </a:extLst>
          </p:cNvPr>
          <p:cNvGrpSpPr/>
          <p:nvPr userDrawn="1"/>
        </p:nvGrpSpPr>
        <p:grpSpPr>
          <a:xfrm>
            <a:off x="10893210" y="6350918"/>
            <a:ext cx="755843" cy="322808"/>
            <a:chOff x="6380216" y="4059273"/>
            <a:chExt cx="2905863" cy="1241045"/>
          </a:xfrm>
          <a:solidFill>
            <a:schemeClr val="bg1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C3685D1-9F07-4341-8451-6ACA3C76F377}"/>
                </a:ext>
              </a:extLst>
            </p:cNvPr>
            <p:cNvSpPr/>
            <p:nvPr/>
          </p:nvSpPr>
          <p:spPr>
            <a:xfrm>
              <a:off x="6380216" y="4059273"/>
              <a:ext cx="2905863" cy="346936"/>
            </a:xfrm>
            <a:custGeom>
              <a:avLst/>
              <a:gdLst>
                <a:gd name="connsiteX0" fmla="*/ 0 w 2905863"/>
                <a:gd name="connsiteY0" fmla="*/ 0 h 346936"/>
                <a:gd name="connsiteX1" fmla="*/ 2905864 w 2905863"/>
                <a:gd name="connsiteY1" fmla="*/ 0 h 346936"/>
                <a:gd name="connsiteX2" fmla="*/ 2905864 w 2905863"/>
                <a:gd name="connsiteY2" fmla="*/ 346937 h 346936"/>
                <a:gd name="connsiteX3" fmla="*/ 0 w 2905863"/>
                <a:gd name="connsiteY3" fmla="*/ 346937 h 34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346936">
                  <a:moveTo>
                    <a:pt x="0" y="0"/>
                  </a:moveTo>
                  <a:lnTo>
                    <a:pt x="2905864" y="0"/>
                  </a:lnTo>
                  <a:lnTo>
                    <a:pt x="2905864" y="346937"/>
                  </a:lnTo>
                  <a:lnTo>
                    <a:pt x="0" y="346937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05DB9FB-B858-4B06-A61C-9DAA21B1D160}"/>
                </a:ext>
              </a:extLst>
            </p:cNvPr>
            <p:cNvSpPr/>
            <p:nvPr/>
          </p:nvSpPr>
          <p:spPr>
            <a:xfrm>
              <a:off x="6380216" y="4521775"/>
              <a:ext cx="2905863" cy="57854"/>
            </a:xfrm>
            <a:custGeom>
              <a:avLst/>
              <a:gdLst>
                <a:gd name="connsiteX0" fmla="*/ 0 w 2905863"/>
                <a:gd name="connsiteY0" fmla="*/ 0 h 57854"/>
                <a:gd name="connsiteX1" fmla="*/ 2905864 w 2905863"/>
                <a:gd name="connsiteY1" fmla="*/ 0 h 57854"/>
                <a:gd name="connsiteX2" fmla="*/ 2905864 w 2905863"/>
                <a:gd name="connsiteY2" fmla="*/ 57854 h 57854"/>
                <a:gd name="connsiteX3" fmla="*/ 0 w 2905863"/>
                <a:gd name="connsiteY3" fmla="*/ 57854 h 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57854">
                  <a:moveTo>
                    <a:pt x="0" y="0"/>
                  </a:moveTo>
                  <a:lnTo>
                    <a:pt x="2905864" y="0"/>
                  </a:lnTo>
                  <a:lnTo>
                    <a:pt x="2905864" y="57854"/>
                  </a:lnTo>
                  <a:lnTo>
                    <a:pt x="0" y="57854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6694A08-8823-4FD6-88C7-8415CF19C262}"/>
                </a:ext>
              </a:extLst>
            </p:cNvPr>
            <p:cNvSpPr/>
            <p:nvPr/>
          </p:nvSpPr>
          <p:spPr>
            <a:xfrm>
              <a:off x="6380216" y="4637294"/>
              <a:ext cx="2905863" cy="115566"/>
            </a:xfrm>
            <a:custGeom>
              <a:avLst/>
              <a:gdLst>
                <a:gd name="connsiteX0" fmla="*/ 0 w 2905863"/>
                <a:gd name="connsiteY0" fmla="*/ 0 h 115566"/>
                <a:gd name="connsiteX1" fmla="*/ 2905864 w 2905863"/>
                <a:gd name="connsiteY1" fmla="*/ 0 h 115566"/>
                <a:gd name="connsiteX2" fmla="*/ 2905864 w 2905863"/>
                <a:gd name="connsiteY2" fmla="*/ 115566 h 115566"/>
                <a:gd name="connsiteX3" fmla="*/ 0 w 2905863"/>
                <a:gd name="connsiteY3" fmla="*/ 115566 h 115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115566">
                  <a:moveTo>
                    <a:pt x="0" y="0"/>
                  </a:moveTo>
                  <a:lnTo>
                    <a:pt x="2905864" y="0"/>
                  </a:lnTo>
                  <a:lnTo>
                    <a:pt x="2905864" y="115566"/>
                  </a:lnTo>
                  <a:lnTo>
                    <a:pt x="0" y="115566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0EAD51D-BC75-421A-AA39-A25C2993AF87}"/>
                </a:ext>
              </a:extLst>
            </p:cNvPr>
            <p:cNvSpPr/>
            <p:nvPr/>
          </p:nvSpPr>
          <p:spPr>
            <a:xfrm>
              <a:off x="7833598" y="4927183"/>
              <a:ext cx="392545" cy="373134"/>
            </a:xfrm>
            <a:custGeom>
              <a:avLst/>
              <a:gdLst>
                <a:gd name="connsiteX0" fmla="*/ 303984 w 392545"/>
                <a:gd name="connsiteY0" fmla="*/ 19174 h 373134"/>
                <a:gd name="connsiteX1" fmla="*/ 201992 w 392545"/>
                <a:gd name="connsiteY1" fmla="*/ 0 h 373134"/>
                <a:gd name="connsiteX2" fmla="*/ 62173 w 392545"/>
                <a:gd name="connsiteY2" fmla="*/ 0 h 373134"/>
                <a:gd name="connsiteX3" fmla="*/ 27859 w 392545"/>
                <a:gd name="connsiteY3" fmla="*/ 0 h 373134"/>
                <a:gd name="connsiteX4" fmla="*/ 0 w 392545"/>
                <a:gd name="connsiteY4" fmla="*/ 0 h 373134"/>
                <a:gd name="connsiteX5" fmla="*/ 0 w 392545"/>
                <a:gd name="connsiteY5" fmla="*/ 373135 h 373134"/>
                <a:gd name="connsiteX6" fmla="*/ 27859 w 392545"/>
                <a:gd name="connsiteY6" fmla="*/ 373135 h 373134"/>
                <a:gd name="connsiteX7" fmla="*/ 62173 w 392545"/>
                <a:gd name="connsiteY7" fmla="*/ 373135 h 373134"/>
                <a:gd name="connsiteX8" fmla="*/ 201992 w 392545"/>
                <a:gd name="connsiteY8" fmla="*/ 373135 h 373134"/>
                <a:gd name="connsiteX9" fmla="*/ 303984 w 392545"/>
                <a:gd name="connsiteY9" fmla="*/ 353961 h 373134"/>
                <a:gd name="connsiteX10" fmla="*/ 369670 w 392545"/>
                <a:gd name="connsiteY10" fmla="*/ 296249 h 373134"/>
                <a:gd name="connsiteX11" fmla="*/ 392546 w 392545"/>
                <a:gd name="connsiteY11" fmla="*/ 199477 h 373134"/>
                <a:gd name="connsiteX12" fmla="*/ 392546 w 392545"/>
                <a:gd name="connsiteY12" fmla="*/ 173611 h 373134"/>
                <a:gd name="connsiteX13" fmla="*/ 369670 w 392545"/>
                <a:gd name="connsiteY13" fmla="*/ 76839 h 373134"/>
                <a:gd name="connsiteX14" fmla="*/ 303984 w 392545"/>
                <a:gd name="connsiteY14" fmla="*/ 19174 h 373134"/>
                <a:gd name="connsiteX15" fmla="*/ 331369 w 392545"/>
                <a:gd name="connsiteY15" fmla="*/ 197531 h 373134"/>
                <a:gd name="connsiteX16" fmla="*/ 299048 w 392545"/>
                <a:gd name="connsiteY16" fmla="*/ 287563 h 373134"/>
                <a:gd name="connsiteX17" fmla="*/ 202514 w 392545"/>
                <a:gd name="connsiteY17" fmla="*/ 316894 h 373134"/>
                <a:gd name="connsiteX18" fmla="*/ 62221 w 392545"/>
                <a:gd name="connsiteY18" fmla="*/ 316894 h 373134"/>
                <a:gd name="connsiteX19" fmla="*/ 62221 w 392545"/>
                <a:gd name="connsiteY19" fmla="*/ 56193 h 373134"/>
                <a:gd name="connsiteX20" fmla="*/ 202514 w 392545"/>
                <a:gd name="connsiteY20" fmla="*/ 56193 h 373134"/>
                <a:gd name="connsiteX21" fmla="*/ 299048 w 392545"/>
                <a:gd name="connsiteY21" fmla="*/ 84812 h 373134"/>
                <a:gd name="connsiteX22" fmla="*/ 331369 w 392545"/>
                <a:gd name="connsiteY22" fmla="*/ 175604 h 373134"/>
                <a:gd name="connsiteX23" fmla="*/ 331369 w 392545"/>
                <a:gd name="connsiteY23" fmla="*/ 197531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2545" h="373134">
                  <a:moveTo>
                    <a:pt x="303984" y="19174"/>
                  </a:moveTo>
                  <a:cubicBezTo>
                    <a:pt x="275461" y="6407"/>
                    <a:pt x="241479" y="0"/>
                    <a:pt x="201992" y="0"/>
                  </a:cubicBezTo>
                  <a:lnTo>
                    <a:pt x="62173" y="0"/>
                  </a:lnTo>
                  <a:lnTo>
                    <a:pt x="27859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27859" y="373135"/>
                  </a:lnTo>
                  <a:lnTo>
                    <a:pt x="62173" y="373135"/>
                  </a:lnTo>
                  <a:lnTo>
                    <a:pt x="201992" y="373135"/>
                  </a:lnTo>
                  <a:cubicBezTo>
                    <a:pt x="241479" y="373135"/>
                    <a:pt x="275461" y="366728"/>
                    <a:pt x="303984" y="353961"/>
                  </a:cubicBezTo>
                  <a:cubicBezTo>
                    <a:pt x="332508" y="341194"/>
                    <a:pt x="354387" y="321972"/>
                    <a:pt x="369670" y="296249"/>
                  </a:cubicBezTo>
                  <a:cubicBezTo>
                    <a:pt x="384904" y="270525"/>
                    <a:pt x="392546" y="238299"/>
                    <a:pt x="392546" y="199477"/>
                  </a:cubicBezTo>
                  <a:lnTo>
                    <a:pt x="392546" y="173611"/>
                  </a:lnTo>
                  <a:cubicBezTo>
                    <a:pt x="392546" y="134788"/>
                    <a:pt x="384904" y="102562"/>
                    <a:pt x="369670" y="76839"/>
                  </a:cubicBezTo>
                  <a:cubicBezTo>
                    <a:pt x="354387" y="51162"/>
                    <a:pt x="332508" y="31941"/>
                    <a:pt x="303984" y="19174"/>
                  </a:cubicBezTo>
                  <a:close/>
                  <a:moveTo>
                    <a:pt x="331369" y="197531"/>
                  </a:moveTo>
                  <a:cubicBezTo>
                    <a:pt x="331369" y="238015"/>
                    <a:pt x="320596" y="268010"/>
                    <a:pt x="299048" y="287563"/>
                  </a:cubicBezTo>
                  <a:cubicBezTo>
                    <a:pt x="277502" y="307117"/>
                    <a:pt x="245323" y="316894"/>
                    <a:pt x="202514" y="316894"/>
                  </a:cubicBezTo>
                  <a:lnTo>
                    <a:pt x="62221" y="316894"/>
                  </a:lnTo>
                  <a:lnTo>
                    <a:pt x="62221" y="56193"/>
                  </a:lnTo>
                  <a:lnTo>
                    <a:pt x="202514" y="56193"/>
                  </a:lnTo>
                  <a:cubicBezTo>
                    <a:pt x="245323" y="56193"/>
                    <a:pt x="277454" y="65733"/>
                    <a:pt x="299048" y="84812"/>
                  </a:cubicBezTo>
                  <a:cubicBezTo>
                    <a:pt x="320596" y="103891"/>
                    <a:pt x="331369" y="134171"/>
                    <a:pt x="331369" y="175604"/>
                  </a:cubicBezTo>
                  <a:lnTo>
                    <a:pt x="331369" y="197531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D0EDFBF-F6DC-4EE5-B961-FB8227BC86A9}"/>
                </a:ext>
              </a:extLst>
            </p:cNvPr>
            <p:cNvSpPr/>
            <p:nvPr/>
          </p:nvSpPr>
          <p:spPr>
            <a:xfrm>
              <a:off x="8344036" y="4927183"/>
              <a:ext cx="410485" cy="373134"/>
            </a:xfrm>
            <a:custGeom>
              <a:avLst/>
              <a:gdLst>
                <a:gd name="connsiteX0" fmla="*/ 349262 w 410485"/>
                <a:gd name="connsiteY0" fmla="*/ 291598 h 373134"/>
                <a:gd name="connsiteX1" fmla="*/ 60702 w 410485"/>
                <a:gd name="connsiteY1" fmla="*/ 0 h 373134"/>
                <a:gd name="connsiteX2" fmla="*/ 26388 w 410485"/>
                <a:gd name="connsiteY2" fmla="*/ 0 h 373134"/>
                <a:gd name="connsiteX3" fmla="*/ 0 w 410485"/>
                <a:gd name="connsiteY3" fmla="*/ 0 h 373134"/>
                <a:gd name="connsiteX4" fmla="*/ 0 w 410485"/>
                <a:gd name="connsiteY4" fmla="*/ 373135 h 373134"/>
                <a:gd name="connsiteX5" fmla="*/ 60702 w 410485"/>
                <a:gd name="connsiteY5" fmla="*/ 373135 h 373134"/>
                <a:gd name="connsiteX6" fmla="*/ 60702 w 410485"/>
                <a:gd name="connsiteY6" fmla="*/ 81917 h 373134"/>
                <a:gd name="connsiteX7" fmla="*/ 349262 w 410485"/>
                <a:gd name="connsiteY7" fmla="*/ 373135 h 373134"/>
                <a:gd name="connsiteX8" fmla="*/ 410486 w 410485"/>
                <a:gd name="connsiteY8" fmla="*/ 373135 h 373134"/>
                <a:gd name="connsiteX9" fmla="*/ 410486 w 410485"/>
                <a:gd name="connsiteY9" fmla="*/ 0 h 373134"/>
                <a:gd name="connsiteX10" fmla="*/ 349262 w 410485"/>
                <a:gd name="connsiteY10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485" h="373134">
                  <a:moveTo>
                    <a:pt x="349262" y="291598"/>
                  </a:moveTo>
                  <a:lnTo>
                    <a:pt x="60702" y="0"/>
                  </a:lnTo>
                  <a:lnTo>
                    <a:pt x="26388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60702" y="373135"/>
                  </a:lnTo>
                  <a:lnTo>
                    <a:pt x="60702" y="81917"/>
                  </a:lnTo>
                  <a:lnTo>
                    <a:pt x="349262" y="373135"/>
                  </a:lnTo>
                  <a:lnTo>
                    <a:pt x="410486" y="373135"/>
                  </a:lnTo>
                  <a:lnTo>
                    <a:pt x="410486" y="0"/>
                  </a:lnTo>
                  <a:lnTo>
                    <a:pt x="349262" y="0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D9D8410-AE1F-42D5-9F0C-1407AD71DD5C}"/>
                </a:ext>
              </a:extLst>
            </p:cNvPr>
            <p:cNvSpPr/>
            <p:nvPr/>
          </p:nvSpPr>
          <p:spPr>
            <a:xfrm>
              <a:off x="8863965" y="4927183"/>
              <a:ext cx="421876" cy="373134"/>
            </a:xfrm>
            <a:custGeom>
              <a:avLst/>
              <a:gdLst>
                <a:gd name="connsiteX0" fmla="*/ 355716 w 421876"/>
                <a:gd name="connsiteY0" fmla="*/ 0 h 373134"/>
                <a:gd name="connsiteX1" fmla="*/ 212955 w 421876"/>
                <a:gd name="connsiteY1" fmla="*/ 291598 h 373134"/>
                <a:gd name="connsiteX2" fmla="*/ 70146 w 421876"/>
                <a:gd name="connsiteY2" fmla="*/ 0 h 373134"/>
                <a:gd name="connsiteX3" fmla="*/ 0 w 421876"/>
                <a:gd name="connsiteY3" fmla="*/ 0 h 373134"/>
                <a:gd name="connsiteX4" fmla="*/ 187042 w 421876"/>
                <a:gd name="connsiteY4" fmla="*/ 373135 h 373134"/>
                <a:gd name="connsiteX5" fmla="*/ 235309 w 421876"/>
                <a:gd name="connsiteY5" fmla="*/ 373135 h 373134"/>
                <a:gd name="connsiteX6" fmla="*/ 421876 w 421876"/>
                <a:gd name="connsiteY6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876" h="373134">
                  <a:moveTo>
                    <a:pt x="355716" y="0"/>
                  </a:moveTo>
                  <a:lnTo>
                    <a:pt x="212955" y="291598"/>
                  </a:lnTo>
                  <a:lnTo>
                    <a:pt x="70146" y="0"/>
                  </a:lnTo>
                  <a:lnTo>
                    <a:pt x="0" y="0"/>
                  </a:lnTo>
                  <a:lnTo>
                    <a:pt x="187042" y="373135"/>
                  </a:lnTo>
                  <a:lnTo>
                    <a:pt x="235309" y="373135"/>
                  </a:lnTo>
                  <a:lnTo>
                    <a:pt x="421876" y="0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insert agenda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730375"/>
            <a:ext cx="11110913" cy="4316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7000"/>
              </a:lnSpc>
              <a:spcBef>
                <a:spcPts val="600"/>
              </a:spcBef>
              <a:buClr>
                <a:srgbClr val="333333"/>
              </a:buClr>
              <a:buFont typeface="Arial" panose="020B0604020202020204" pitchFamily="34" charset="0"/>
              <a:buChar char="​"/>
              <a:defRPr sz="2800" b="0">
                <a:solidFill>
                  <a:schemeClr val="bg1"/>
                </a:solidFill>
              </a:defRPr>
            </a:lvl1pPr>
            <a:lvl2pPr marL="180000" indent="-180000">
              <a:spcBef>
                <a:spcPts val="0"/>
              </a:spcBef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2pPr>
            <a:lvl3pPr marL="360000">
              <a:spcBef>
                <a:spcPts val="600"/>
              </a:spcBef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/>
              <a:t>Click to add agenda topic, use DNV colour to highlight topic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  <a:endParaRPr lang="en-GB" dirty="0"/>
          </a:p>
        </p:txBody>
      </p:sp>
      <p:sp>
        <p:nvSpPr>
          <p:cNvPr id="22" name="SD_FLD_Draft" hidden="1">
            <a:extLst>
              <a:ext uri="{FF2B5EF4-FFF2-40B4-BE49-F238E27FC236}">
                <a16:creationId xmlns:a16="http://schemas.microsoft.com/office/drawing/2014/main" id="{92C90B5D-5FAE-415E-B4B3-FF93FD8C92B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19" name="_SD_FLD_Copyright">
            <a:extLst>
              <a:ext uri="{FF2B5EF4-FFF2-40B4-BE49-F238E27FC236}">
                <a16:creationId xmlns:a16="http://schemas.microsoft.com/office/drawing/2014/main" id="{8113C12E-3C19-4B26-A824-CC99F56910E5}"/>
              </a:ext>
            </a:extLst>
          </p:cNvPr>
          <p:cNvSpPr txBox="1"/>
          <p:nvPr userDrawn="1"/>
        </p:nvSpPr>
        <p:spPr>
          <a:xfrm>
            <a:off x="818923" y="6449138"/>
            <a:ext cx="27892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noProof="0" dirty="0">
                <a:solidFill>
                  <a:schemeClr val="bg1"/>
                </a:solidFill>
              </a:rPr>
              <a:t>DNV ©</a:t>
            </a:r>
          </a:p>
        </p:txBody>
      </p:sp>
      <p:sp>
        <p:nvSpPr>
          <p:cNvPr id="21" name="Date Placeholder 9">
            <a:extLst>
              <a:ext uri="{FF2B5EF4-FFF2-40B4-BE49-F238E27FC236}">
                <a16:creationId xmlns:a16="http://schemas.microsoft.com/office/drawing/2014/main" id="{B1D3FE5E-D408-4580-B1AA-775AB87586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68587" y="6445820"/>
            <a:ext cx="107134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US"/>
              <a:t>Rev. 1.0</a:t>
            </a:r>
            <a:endParaRPr lang="de-DE" dirty="0"/>
          </a:p>
        </p:txBody>
      </p:sp>
      <p:sp>
        <p:nvSpPr>
          <p:cNvPr id="23" name="Footer Placeholder 11">
            <a:extLst>
              <a:ext uri="{FF2B5EF4-FFF2-40B4-BE49-F238E27FC236}">
                <a16:creationId xmlns:a16="http://schemas.microsoft.com/office/drawing/2014/main" id="{D7AF5939-5E21-4C52-8356-6494402C5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0596" y="6439418"/>
            <a:ext cx="834040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700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24" name="Slide Number Placeholder 12">
            <a:extLst>
              <a:ext uri="{FF2B5EF4-FFF2-40B4-BE49-F238E27FC236}">
                <a16:creationId xmlns:a16="http://schemas.microsoft.com/office/drawing/2014/main" id="{0787C97A-8712-401F-9708-F117B604AA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392" y="644740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700" smtClean="0">
                <a:solidFill>
                  <a:schemeClr val="bg1"/>
                </a:solidFill>
              </a:defRPr>
            </a:lvl1pPr>
          </a:lstStyle>
          <a:p>
            <a:fld id="{300F8F77-4347-4BF0-A9D7-4E51985595AC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74043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" y="-1"/>
            <a:ext cx="12191999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1536806"/>
            <a:ext cx="10170863" cy="3784387"/>
          </a:xfrm>
        </p:spPr>
        <p:txBody>
          <a:bodyPr anchor="ctr" anchorCtr="0">
            <a:noAutofit/>
          </a:bodyPr>
          <a:lstStyle>
            <a:lvl1pPr algn="l">
              <a:defRPr sz="6000" b="0" cap="none" baseline="0">
                <a:solidFill>
                  <a:schemeClr val="accent5"/>
                </a:solidFill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grpSp>
        <p:nvGrpSpPr>
          <p:cNvPr id="14" name="Logo">
            <a:extLst>
              <a:ext uri="{FF2B5EF4-FFF2-40B4-BE49-F238E27FC236}">
                <a16:creationId xmlns:a16="http://schemas.microsoft.com/office/drawing/2014/main" id="{FFD8B2ED-D29A-4DD2-802B-39A737104C76}"/>
              </a:ext>
            </a:extLst>
          </p:cNvPr>
          <p:cNvGrpSpPr/>
          <p:nvPr userDrawn="1"/>
        </p:nvGrpSpPr>
        <p:grpSpPr bwMode="black">
          <a:xfrm>
            <a:off x="10893210" y="6350918"/>
            <a:ext cx="755843" cy="322808"/>
            <a:chOff x="6380216" y="4059273"/>
            <a:chExt cx="2905863" cy="1241045"/>
          </a:xfrm>
          <a:solidFill>
            <a:schemeClr val="bg1"/>
          </a:solidFill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DE34447-D162-4F7B-935A-955BE9F11910}"/>
                </a:ext>
              </a:extLst>
            </p:cNvPr>
            <p:cNvSpPr/>
            <p:nvPr/>
          </p:nvSpPr>
          <p:spPr bwMode="black">
            <a:xfrm>
              <a:off x="6380216" y="4059273"/>
              <a:ext cx="2905863" cy="346936"/>
            </a:xfrm>
            <a:custGeom>
              <a:avLst/>
              <a:gdLst>
                <a:gd name="connsiteX0" fmla="*/ 0 w 2905863"/>
                <a:gd name="connsiteY0" fmla="*/ 0 h 346936"/>
                <a:gd name="connsiteX1" fmla="*/ 2905864 w 2905863"/>
                <a:gd name="connsiteY1" fmla="*/ 0 h 346936"/>
                <a:gd name="connsiteX2" fmla="*/ 2905864 w 2905863"/>
                <a:gd name="connsiteY2" fmla="*/ 346937 h 346936"/>
                <a:gd name="connsiteX3" fmla="*/ 0 w 2905863"/>
                <a:gd name="connsiteY3" fmla="*/ 346937 h 34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346936">
                  <a:moveTo>
                    <a:pt x="0" y="0"/>
                  </a:moveTo>
                  <a:lnTo>
                    <a:pt x="2905864" y="0"/>
                  </a:lnTo>
                  <a:lnTo>
                    <a:pt x="2905864" y="346937"/>
                  </a:lnTo>
                  <a:lnTo>
                    <a:pt x="0" y="346937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CC62DE1-D960-4214-AF24-6FCCF8E1E2CB}"/>
                </a:ext>
              </a:extLst>
            </p:cNvPr>
            <p:cNvSpPr/>
            <p:nvPr/>
          </p:nvSpPr>
          <p:spPr bwMode="black">
            <a:xfrm>
              <a:off x="6380216" y="4521775"/>
              <a:ext cx="2905863" cy="57854"/>
            </a:xfrm>
            <a:custGeom>
              <a:avLst/>
              <a:gdLst>
                <a:gd name="connsiteX0" fmla="*/ 0 w 2905863"/>
                <a:gd name="connsiteY0" fmla="*/ 0 h 57854"/>
                <a:gd name="connsiteX1" fmla="*/ 2905864 w 2905863"/>
                <a:gd name="connsiteY1" fmla="*/ 0 h 57854"/>
                <a:gd name="connsiteX2" fmla="*/ 2905864 w 2905863"/>
                <a:gd name="connsiteY2" fmla="*/ 57854 h 57854"/>
                <a:gd name="connsiteX3" fmla="*/ 0 w 2905863"/>
                <a:gd name="connsiteY3" fmla="*/ 57854 h 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57854">
                  <a:moveTo>
                    <a:pt x="0" y="0"/>
                  </a:moveTo>
                  <a:lnTo>
                    <a:pt x="2905864" y="0"/>
                  </a:lnTo>
                  <a:lnTo>
                    <a:pt x="2905864" y="57854"/>
                  </a:lnTo>
                  <a:lnTo>
                    <a:pt x="0" y="57854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DA82B21-5583-4BEB-BD57-5F9CEB1A8934}"/>
                </a:ext>
              </a:extLst>
            </p:cNvPr>
            <p:cNvSpPr/>
            <p:nvPr/>
          </p:nvSpPr>
          <p:spPr bwMode="black">
            <a:xfrm>
              <a:off x="6380216" y="4637294"/>
              <a:ext cx="2905863" cy="115566"/>
            </a:xfrm>
            <a:custGeom>
              <a:avLst/>
              <a:gdLst>
                <a:gd name="connsiteX0" fmla="*/ 0 w 2905863"/>
                <a:gd name="connsiteY0" fmla="*/ 0 h 115566"/>
                <a:gd name="connsiteX1" fmla="*/ 2905864 w 2905863"/>
                <a:gd name="connsiteY1" fmla="*/ 0 h 115566"/>
                <a:gd name="connsiteX2" fmla="*/ 2905864 w 2905863"/>
                <a:gd name="connsiteY2" fmla="*/ 115566 h 115566"/>
                <a:gd name="connsiteX3" fmla="*/ 0 w 2905863"/>
                <a:gd name="connsiteY3" fmla="*/ 115566 h 115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115566">
                  <a:moveTo>
                    <a:pt x="0" y="0"/>
                  </a:moveTo>
                  <a:lnTo>
                    <a:pt x="2905864" y="0"/>
                  </a:lnTo>
                  <a:lnTo>
                    <a:pt x="2905864" y="115566"/>
                  </a:lnTo>
                  <a:lnTo>
                    <a:pt x="0" y="115566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CE20039-795E-4D11-8AE0-90EC7F537A0F}"/>
                </a:ext>
              </a:extLst>
            </p:cNvPr>
            <p:cNvSpPr/>
            <p:nvPr/>
          </p:nvSpPr>
          <p:spPr bwMode="black">
            <a:xfrm>
              <a:off x="7833598" y="4927183"/>
              <a:ext cx="392545" cy="373134"/>
            </a:xfrm>
            <a:custGeom>
              <a:avLst/>
              <a:gdLst>
                <a:gd name="connsiteX0" fmla="*/ 303984 w 392545"/>
                <a:gd name="connsiteY0" fmla="*/ 19174 h 373134"/>
                <a:gd name="connsiteX1" fmla="*/ 201992 w 392545"/>
                <a:gd name="connsiteY1" fmla="*/ 0 h 373134"/>
                <a:gd name="connsiteX2" fmla="*/ 62173 w 392545"/>
                <a:gd name="connsiteY2" fmla="*/ 0 h 373134"/>
                <a:gd name="connsiteX3" fmla="*/ 27859 w 392545"/>
                <a:gd name="connsiteY3" fmla="*/ 0 h 373134"/>
                <a:gd name="connsiteX4" fmla="*/ 0 w 392545"/>
                <a:gd name="connsiteY4" fmla="*/ 0 h 373134"/>
                <a:gd name="connsiteX5" fmla="*/ 0 w 392545"/>
                <a:gd name="connsiteY5" fmla="*/ 373135 h 373134"/>
                <a:gd name="connsiteX6" fmla="*/ 27859 w 392545"/>
                <a:gd name="connsiteY6" fmla="*/ 373135 h 373134"/>
                <a:gd name="connsiteX7" fmla="*/ 62173 w 392545"/>
                <a:gd name="connsiteY7" fmla="*/ 373135 h 373134"/>
                <a:gd name="connsiteX8" fmla="*/ 201992 w 392545"/>
                <a:gd name="connsiteY8" fmla="*/ 373135 h 373134"/>
                <a:gd name="connsiteX9" fmla="*/ 303984 w 392545"/>
                <a:gd name="connsiteY9" fmla="*/ 353961 h 373134"/>
                <a:gd name="connsiteX10" fmla="*/ 369670 w 392545"/>
                <a:gd name="connsiteY10" fmla="*/ 296249 h 373134"/>
                <a:gd name="connsiteX11" fmla="*/ 392546 w 392545"/>
                <a:gd name="connsiteY11" fmla="*/ 199477 h 373134"/>
                <a:gd name="connsiteX12" fmla="*/ 392546 w 392545"/>
                <a:gd name="connsiteY12" fmla="*/ 173611 h 373134"/>
                <a:gd name="connsiteX13" fmla="*/ 369670 w 392545"/>
                <a:gd name="connsiteY13" fmla="*/ 76839 h 373134"/>
                <a:gd name="connsiteX14" fmla="*/ 303984 w 392545"/>
                <a:gd name="connsiteY14" fmla="*/ 19174 h 373134"/>
                <a:gd name="connsiteX15" fmla="*/ 331369 w 392545"/>
                <a:gd name="connsiteY15" fmla="*/ 197531 h 373134"/>
                <a:gd name="connsiteX16" fmla="*/ 299048 w 392545"/>
                <a:gd name="connsiteY16" fmla="*/ 287563 h 373134"/>
                <a:gd name="connsiteX17" fmla="*/ 202514 w 392545"/>
                <a:gd name="connsiteY17" fmla="*/ 316894 h 373134"/>
                <a:gd name="connsiteX18" fmla="*/ 62221 w 392545"/>
                <a:gd name="connsiteY18" fmla="*/ 316894 h 373134"/>
                <a:gd name="connsiteX19" fmla="*/ 62221 w 392545"/>
                <a:gd name="connsiteY19" fmla="*/ 56193 h 373134"/>
                <a:gd name="connsiteX20" fmla="*/ 202514 w 392545"/>
                <a:gd name="connsiteY20" fmla="*/ 56193 h 373134"/>
                <a:gd name="connsiteX21" fmla="*/ 299048 w 392545"/>
                <a:gd name="connsiteY21" fmla="*/ 84812 h 373134"/>
                <a:gd name="connsiteX22" fmla="*/ 331369 w 392545"/>
                <a:gd name="connsiteY22" fmla="*/ 175604 h 373134"/>
                <a:gd name="connsiteX23" fmla="*/ 331369 w 392545"/>
                <a:gd name="connsiteY23" fmla="*/ 197531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2545" h="373134">
                  <a:moveTo>
                    <a:pt x="303984" y="19174"/>
                  </a:moveTo>
                  <a:cubicBezTo>
                    <a:pt x="275461" y="6407"/>
                    <a:pt x="241479" y="0"/>
                    <a:pt x="201992" y="0"/>
                  </a:cubicBezTo>
                  <a:lnTo>
                    <a:pt x="62173" y="0"/>
                  </a:lnTo>
                  <a:lnTo>
                    <a:pt x="27859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27859" y="373135"/>
                  </a:lnTo>
                  <a:lnTo>
                    <a:pt x="62173" y="373135"/>
                  </a:lnTo>
                  <a:lnTo>
                    <a:pt x="201992" y="373135"/>
                  </a:lnTo>
                  <a:cubicBezTo>
                    <a:pt x="241479" y="373135"/>
                    <a:pt x="275461" y="366728"/>
                    <a:pt x="303984" y="353961"/>
                  </a:cubicBezTo>
                  <a:cubicBezTo>
                    <a:pt x="332508" y="341194"/>
                    <a:pt x="354387" y="321972"/>
                    <a:pt x="369670" y="296249"/>
                  </a:cubicBezTo>
                  <a:cubicBezTo>
                    <a:pt x="384904" y="270525"/>
                    <a:pt x="392546" y="238299"/>
                    <a:pt x="392546" y="199477"/>
                  </a:cubicBezTo>
                  <a:lnTo>
                    <a:pt x="392546" y="173611"/>
                  </a:lnTo>
                  <a:cubicBezTo>
                    <a:pt x="392546" y="134788"/>
                    <a:pt x="384904" y="102562"/>
                    <a:pt x="369670" y="76839"/>
                  </a:cubicBezTo>
                  <a:cubicBezTo>
                    <a:pt x="354387" y="51162"/>
                    <a:pt x="332508" y="31941"/>
                    <a:pt x="303984" y="19174"/>
                  </a:cubicBezTo>
                  <a:close/>
                  <a:moveTo>
                    <a:pt x="331369" y="197531"/>
                  </a:moveTo>
                  <a:cubicBezTo>
                    <a:pt x="331369" y="238015"/>
                    <a:pt x="320596" y="268010"/>
                    <a:pt x="299048" y="287563"/>
                  </a:cubicBezTo>
                  <a:cubicBezTo>
                    <a:pt x="277502" y="307117"/>
                    <a:pt x="245323" y="316894"/>
                    <a:pt x="202514" y="316894"/>
                  </a:cubicBezTo>
                  <a:lnTo>
                    <a:pt x="62221" y="316894"/>
                  </a:lnTo>
                  <a:lnTo>
                    <a:pt x="62221" y="56193"/>
                  </a:lnTo>
                  <a:lnTo>
                    <a:pt x="202514" y="56193"/>
                  </a:lnTo>
                  <a:cubicBezTo>
                    <a:pt x="245323" y="56193"/>
                    <a:pt x="277454" y="65733"/>
                    <a:pt x="299048" y="84812"/>
                  </a:cubicBezTo>
                  <a:cubicBezTo>
                    <a:pt x="320596" y="103891"/>
                    <a:pt x="331369" y="134171"/>
                    <a:pt x="331369" y="175604"/>
                  </a:cubicBezTo>
                  <a:lnTo>
                    <a:pt x="331369" y="197531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98DD760-2FAF-4320-9DEA-72623C379E8E}"/>
                </a:ext>
              </a:extLst>
            </p:cNvPr>
            <p:cNvSpPr/>
            <p:nvPr/>
          </p:nvSpPr>
          <p:spPr bwMode="black">
            <a:xfrm>
              <a:off x="8344036" y="4927183"/>
              <a:ext cx="410485" cy="373134"/>
            </a:xfrm>
            <a:custGeom>
              <a:avLst/>
              <a:gdLst>
                <a:gd name="connsiteX0" fmla="*/ 349262 w 410485"/>
                <a:gd name="connsiteY0" fmla="*/ 291598 h 373134"/>
                <a:gd name="connsiteX1" fmla="*/ 60702 w 410485"/>
                <a:gd name="connsiteY1" fmla="*/ 0 h 373134"/>
                <a:gd name="connsiteX2" fmla="*/ 26388 w 410485"/>
                <a:gd name="connsiteY2" fmla="*/ 0 h 373134"/>
                <a:gd name="connsiteX3" fmla="*/ 0 w 410485"/>
                <a:gd name="connsiteY3" fmla="*/ 0 h 373134"/>
                <a:gd name="connsiteX4" fmla="*/ 0 w 410485"/>
                <a:gd name="connsiteY4" fmla="*/ 373135 h 373134"/>
                <a:gd name="connsiteX5" fmla="*/ 60702 w 410485"/>
                <a:gd name="connsiteY5" fmla="*/ 373135 h 373134"/>
                <a:gd name="connsiteX6" fmla="*/ 60702 w 410485"/>
                <a:gd name="connsiteY6" fmla="*/ 81917 h 373134"/>
                <a:gd name="connsiteX7" fmla="*/ 349262 w 410485"/>
                <a:gd name="connsiteY7" fmla="*/ 373135 h 373134"/>
                <a:gd name="connsiteX8" fmla="*/ 410486 w 410485"/>
                <a:gd name="connsiteY8" fmla="*/ 373135 h 373134"/>
                <a:gd name="connsiteX9" fmla="*/ 410486 w 410485"/>
                <a:gd name="connsiteY9" fmla="*/ 0 h 373134"/>
                <a:gd name="connsiteX10" fmla="*/ 349262 w 410485"/>
                <a:gd name="connsiteY10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485" h="373134">
                  <a:moveTo>
                    <a:pt x="349262" y="291598"/>
                  </a:moveTo>
                  <a:lnTo>
                    <a:pt x="60702" y="0"/>
                  </a:lnTo>
                  <a:lnTo>
                    <a:pt x="26388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60702" y="373135"/>
                  </a:lnTo>
                  <a:lnTo>
                    <a:pt x="60702" y="81917"/>
                  </a:lnTo>
                  <a:lnTo>
                    <a:pt x="349262" y="373135"/>
                  </a:lnTo>
                  <a:lnTo>
                    <a:pt x="410486" y="373135"/>
                  </a:lnTo>
                  <a:lnTo>
                    <a:pt x="410486" y="0"/>
                  </a:lnTo>
                  <a:lnTo>
                    <a:pt x="349262" y="0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041B905B-6234-4D84-87BB-D0AC1BB118FB}"/>
                </a:ext>
              </a:extLst>
            </p:cNvPr>
            <p:cNvSpPr/>
            <p:nvPr/>
          </p:nvSpPr>
          <p:spPr bwMode="black">
            <a:xfrm>
              <a:off x="8863965" y="4927183"/>
              <a:ext cx="421876" cy="373134"/>
            </a:xfrm>
            <a:custGeom>
              <a:avLst/>
              <a:gdLst>
                <a:gd name="connsiteX0" fmla="*/ 355716 w 421876"/>
                <a:gd name="connsiteY0" fmla="*/ 0 h 373134"/>
                <a:gd name="connsiteX1" fmla="*/ 212955 w 421876"/>
                <a:gd name="connsiteY1" fmla="*/ 291598 h 373134"/>
                <a:gd name="connsiteX2" fmla="*/ 70146 w 421876"/>
                <a:gd name="connsiteY2" fmla="*/ 0 h 373134"/>
                <a:gd name="connsiteX3" fmla="*/ 0 w 421876"/>
                <a:gd name="connsiteY3" fmla="*/ 0 h 373134"/>
                <a:gd name="connsiteX4" fmla="*/ 187042 w 421876"/>
                <a:gd name="connsiteY4" fmla="*/ 373135 h 373134"/>
                <a:gd name="connsiteX5" fmla="*/ 235309 w 421876"/>
                <a:gd name="connsiteY5" fmla="*/ 373135 h 373134"/>
                <a:gd name="connsiteX6" fmla="*/ 421876 w 421876"/>
                <a:gd name="connsiteY6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876" h="373134">
                  <a:moveTo>
                    <a:pt x="355716" y="0"/>
                  </a:moveTo>
                  <a:lnTo>
                    <a:pt x="212955" y="291598"/>
                  </a:lnTo>
                  <a:lnTo>
                    <a:pt x="70146" y="0"/>
                  </a:lnTo>
                  <a:lnTo>
                    <a:pt x="0" y="0"/>
                  </a:lnTo>
                  <a:lnTo>
                    <a:pt x="187042" y="373135"/>
                  </a:lnTo>
                  <a:lnTo>
                    <a:pt x="235309" y="373135"/>
                  </a:lnTo>
                  <a:lnTo>
                    <a:pt x="421876" y="0"/>
                  </a:lnTo>
                  <a:close/>
                </a:path>
              </a:pathLst>
            </a:custGeom>
            <a:grpFill/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22" name="SD_FLD_Draft" hidden="1">
            <a:extLst>
              <a:ext uri="{FF2B5EF4-FFF2-40B4-BE49-F238E27FC236}">
                <a16:creationId xmlns:a16="http://schemas.microsoft.com/office/drawing/2014/main" id="{630717C7-BDDC-469E-A681-3386855F62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23" name="_SD_FLD_Copyright">
            <a:extLst>
              <a:ext uri="{FF2B5EF4-FFF2-40B4-BE49-F238E27FC236}">
                <a16:creationId xmlns:a16="http://schemas.microsoft.com/office/drawing/2014/main" id="{82D5061A-AF54-4DE0-B9E0-BC70ED822D51}"/>
              </a:ext>
            </a:extLst>
          </p:cNvPr>
          <p:cNvSpPr txBox="1"/>
          <p:nvPr userDrawn="1"/>
        </p:nvSpPr>
        <p:spPr>
          <a:xfrm>
            <a:off x="818923" y="6449138"/>
            <a:ext cx="27892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noProof="0" dirty="0">
                <a:solidFill>
                  <a:schemeClr val="bg1"/>
                </a:solidFill>
              </a:rPr>
              <a:t>DNV ©</a:t>
            </a:r>
          </a:p>
        </p:txBody>
      </p:sp>
      <p:sp>
        <p:nvSpPr>
          <p:cNvPr id="24" name="Date Placeholder 9">
            <a:extLst>
              <a:ext uri="{FF2B5EF4-FFF2-40B4-BE49-F238E27FC236}">
                <a16:creationId xmlns:a16="http://schemas.microsoft.com/office/drawing/2014/main" id="{961E9606-715E-48F0-A4EA-7A2BAEBB9B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68587" y="6445820"/>
            <a:ext cx="107134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US"/>
              <a:t>Rev. 1.0</a:t>
            </a:r>
            <a:endParaRPr lang="de-DE" dirty="0"/>
          </a:p>
        </p:txBody>
      </p:sp>
      <p:sp>
        <p:nvSpPr>
          <p:cNvPr id="25" name="Footer Placeholder 11">
            <a:extLst>
              <a:ext uri="{FF2B5EF4-FFF2-40B4-BE49-F238E27FC236}">
                <a16:creationId xmlns:a16="http://schemas.microsoft.com/office/drawing/2014/main" id="{07AB2FFA-30A9-44AC-9749-629CBEDDC8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0596" y="6439418"/>
            <a:ext cx="834040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700" dirty="0">
                <a:solidFill>
                  <a:schemeClr val="bg1"/>
                </a:solidFill>
              </a:defRPr>
            </a:lvl1pPr>
          </a:lstStyle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26" name="Slide Number Placeholder 12">
            <a:extLst>
              <a:ext uri="{FF2B5EF4-FFF2-40B4-BE49-F238E27FC236}">
                <a16:creationId xmlns:a16="http://schemas.microsoft.com/office/drawing/2014/main" id="{5396343B-DCC5-4F31-B6B7-3181D31382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392" y="644740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700" smtClean="0">
                <a:solidFill>
                  <a:schemeClr val="bg1"/>
                </a:solidFill>
              </a:defRPr>
            </a:lvl1pPr>
          </a:lstStyle>
          <a:p>
            <a:fld id="{300F8F77-4347-4BF0-A9D7-4E51985595AC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29000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4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7.xml"/><Relationship Id="rId47" Type="http://schemas.openxmlformats.org/officeDocument/2006/relationships/tags" Target="../tags/tag12.xml"/><Relationship Id="rId50" Type="http://schemas.openxmlformats.org/officeDocument/2006/relationships/tags" Target="../tags/tag15.xml"/><Relationship Id="rId55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3.xml"/><Relationship Id="rId46" Type="http://schemas.openxmlformats.org/officeDocument/2006/relationships/tags" Target="../tags/tag11.xml"/><Relationship Id="rId59" Type="http://schemas.openxmlformats.org/officeDocument/2006/relationships/tags" Target="../tags/tag2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6.xml"/><Relationship Id="rId54" Type="http://schemas.openxmlformats.org/officeDocument/2006/relationships/tags" Target="../tags/tag1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40" Type="http://schemas.openxmlformats.org/officeDocument/2006/relationships/tags" Target="../tags/tag5.xml"/><Relationship Id="rId45" Type="http://schemas.openxmlformats.org/officeDocument/2006/relationships/tags" Target="../tags/tag10.xml"/><Relationship Id="rId53" Type="http://schemas.openxmlformats.org/officeDocument/2006/relationships/tags" Target="../tags/tag18.xml"/><Relationship Id="rId58" Type="http://schemas.openxmlformats.org/officeDocument/2006/relationships/tags" Target="../tags/tag2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49" Type="http://schemas.openxmlformats.org/officeDocument/2006/relationships/tags" Target="../tags/tag14.xml"/><Relationship Id="rId57" Type="http://schemas.openxmlformats.org/officeDocument/2006/relationships/tags" Target="../tags/tag2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9.xml"/><Relationship Id="rId52" Type="http://schemas.openxmlformats.org/officeDocument/2006/relationships/tags" Target="../tags/tag17.xml"/><Relationship Id="rId60" Type="http://schemas.openxmlformats.org/officeDocument/2006/relationships/tags" Target="../tags/tag2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8.xml"/><Relationship Id="rId48" Type="http://schemas.openxmlformats.org/officeDocument/2006/relationships/tags" Target="../tags/tag13.xml"/><Relationship Id="rId56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6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9750" y="539750"/>
            <a:ext cx="11110914" cy="5849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749" y="1270188"/>
            <a:ext cx="11110914" cy="43176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BB63DCEC-AAD3-4DB4-9AE3-B5D19A9C2484}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540000" y="540000"/>
            <a:ext cx="761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0FD117DA-A2A8-4F9D-B936-69DCC4F5F5D2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1301000" y="540000"/>
            <a:ext cx="180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2C7B45E7-1F83-4137-A47D-8B64435080C5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1481000" y="540000"/>
            <a:ext cx="761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19" name="Rectangle 18" hidden="1">
            <a:extLst>
              <a:ext uri="{FF2B5EF4-FFF2-40B4-BE49-F238E27FC236}">
                <a16:creationId xmlns:a16="http://schemas.microsoft.com/office/drawing/2014/main" id="{A8B3B5FE-7988-4FC0-84E6-9CF1C3C4CA51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2242000" y="540000"/>
            <a:ext cx="180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20" name="Rectangle 19" hidden="1">
            <a:extLst>
              <a:ext uri="{FF2B5EF4-FFF2-40B4-BE49-F238E27FC236}">
                <a16:creationId xmlns:a16="http://schemas.microsoft.com/office/drawing/2014/main" id="{1EDC7C3A-9F84-479D-9C27-16EAE38E647C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2422000" y="540000"/>
            <a:ext cx="761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0D6D4D25-7264-48B4-AADE-6A2F1A824C8B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3183000" y="540000"/>
            <a:ext cx="180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D415979B-387F-475E-814F-C88D5AB822CB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3363000" y="540000"/>
            <a:ext cx="761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877E9948-C983-44F5-B38B-9D9B79AB0C13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4124000" y="540000"/>
            <a:ext cx="180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C90019DE-0E2E-4D25-8EBB-2AA6C9805FCB}"/>
              </a:ext>
            </a:extLst>
          </p:cNvPr>
          <p:cNvSpPr/>
          <p:nvPr userDrawn="1">
            <p:custDataLst>
              <p:tags r:id="rId46"/>
            </p:custDataLst>
          </p:nvPr>
        </p:nvSpPr>
        <p:spPr>
          <a:xfrm>
            <a:off x="4304000" y="540000"/>
            <a:ext cx="761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5743DD09-14AA-4131-9DA2-5E4B49BF5418}"/>
              </a:ext>
            </a:extLst>
          </p:cNvPr>
          <p:cNvSpPr/>
          <p:nvPr userDrawn="1">
            <p:custDataLst>
              <p:tags r:id="rId47"/>
            </p:custDataLst>
          </p:nvPr>
        </p:nvSpPr>
        <p:spPr>
          <a:xfrm>
            <a:off x="5065000" y="540000"/>
            <a:ext cx="180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54D98BB9-B9BA-4230-9B6C-2B0937D4CADC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5245000" y="540000"/>
            <a:ext cx="761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0E84BDF3-3A6F-4957-9C70-3E513F17F8E6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6006000" y="540000"/>
            <a:ext cx="180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F8D87BF2-62DC-4044-8884-CD295F80035D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6186000" y="540000"/>
            <a:ext cx="761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997FA058-ADE0-4733-B4D3-D07665FA08E4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6947000" y="540000"/>
            <a:ext cx="180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CF0CB68A-836B-4424-A951-4595D080DA84}"/>
              </a:ext>
            </a:extLst>
          </p:cNvPr>
          <p:cNvSpPr/>
          <p:nvPr userDrawn="1">
            <p:custDataLst>
              <p:tags r:id="rId52"/>
            </p:custDataLst>
          </p:nvPr>
        </p:nvSpPr>
        <p:spPr>
          <a:xfrm>
            <a:off x="7127000" y="540000"/>
            <a:ext cx="761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37E6161D-D1CC-43BF-868E-E0728DA933D2}"/>
              </a:ext>
            </a:extLst>
          </p:cNvPr>
          <p:cNvSpPr/>
          <p:nvPr userDrawn="1">
            <p:custDataLst>
              <p:tags r:id="rId53"/>
            </p:custDataLst>
          </p:nvPr>
        </p:nvSpPr>
        <p:spPr>
          <a:xfrm>
            <a:off x="7888000" y="540000"/>
            <a:ext cx="180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B91C25CE-0CFC-46B9-8355-74CBDF16BA65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8068000" y="540000"/>
            <a:ext cx="761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DE20CDAE-9F45-4CE8-A05F-6A96B2B5939F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8829000" y="540000"/>
            <a:ext cx="180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34" name="Rectangle 33" hidden="1">
            <a:extLst>
              <a:ext uri="{FF2B5EF4-FFF2-40B4-BE49-F238E27FC236}">
                <a16:creationId xmlns:a16="http://schemas.microsoft.com/office/drawing/2014/main" id="{6432E07F-A333-4B52-865F-B73930C08029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9009000" y="540000"/>
            <a:ext cx="761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35" name="Rectangle 34" hidden="1">
            <a:extLst>
              <a:ext uri="{FF2B5EF4-FFF2-40B4-BE49-F238E27FC236}">
                <a16:creationId xmlns:a16="http://schemas.microsoft.com/office/drawing/2014/main" id="{4391A0C5-6CD6-4DC4-8D81-B703452F5556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9770000" y="540000"/>
            <a:ext cx="180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36" name="Rectangle 35" hidden="1">
            <a:extLst>
              <a:ext uri="{FF2B5EF4-FFF2-40B4-BE49-F238E27FC236}">
                <a16:creationId xmlns:a16="http://schemas.microsoft.com/office/drawing/2014/main" id="{C2BB7253-FD9F-45C4-B7EC-3DFA632E9A5C}"/>
              </a:ext>
            </a:extLst>
          </p:cNvPr>
          <p:cNvSpPr/>
          <p:nvPr userDrawn="1">
            <p:custDataLst>
              <p:tags r:id="rId58"/>
            </p:custDataLst>
          </p:nvPr>
        </p:nvSpPr>
        <p:spPr>
          <a:xfrm>
            <a:off x="9950000" y="540000"/>
            <a:ext cx="761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8551C5F9-5795-44CA-A212-05C6ED297020}"/>
              </a:ext>
            </a:extLst>
          </p:cNvPr>
          <p:cNvSpPr/>
          <p:nvPr userDrawn="1">
            <p:custDataLst>
              <p:tags r:id="rId59"/>
            </p:custDataLst>
          </p:nvPr>
        </p:nvSpPr>
        <p:spPr>
          <a:xfrm>
            <a:off x="10711000" y="540000"/>
            <a:ext cx="180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9BA724BC-F1B2-426A-9B61-ACA60B3A108B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10891000" y="540000"/>
            <a:ext cx="761000" cy="550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/>
          </a:p>
        </p:txBody>
      </p:sp>
      <p:grpSp>
        <p:nvGrpSpPr>
          <p:cNvPr id="40" name="Logo">
            <a:extLst>
              <a:ext uri="{FF2B5EF4-FFF2-40B4-BE49-F238E27FC236}">
                <a16:creationId xmlns:a16="http://schemas.microsoft.com/office/drawing/2014/main" id="{41159307-D2B4-4D3F-A332-4F79D6D74E94}"/>
              </a:ext>
            </a:extLst>
          </p:cNvPr>
          <p:cNvGrpSpPr/>
          <p:nvPr userDrawn="1"/>
        </p:nvGrpSpPr>
        <p:grpSpPr>
          <a:xfrm>
            <a:off x="10893210" y="6350918"/>
            <a:ext cx="755843" cy="322808"/>
            <a:chOff x="6380216" y="4059273"/>
            <a:chExt cx="2905863" cy="1241045"/>
          </a:xfrm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58D12840-1B77-4571-AEF6-084C7CA9B155}"/>
                </a:ext>
              </a:extLst>
            </p:cNvPr>
            <p:cNvSpPr/>
            <p:nvPr/>
          </p:nvSpPr>
          <p:spPr>
            <a:xfrm>
              <a:off x="6380216" y="4059273"/>
              <a:ext cx="2905863" cy="346936"/>
            </a:xfrm>
            <a:custGeom>
              <a:avLst/>
              <a:gdLst>
                <a:gd name="connsiteX0" fmla="*/ 0 w 2905863"/>
                <a:gd name="connsiteY0" fmla="*/ 0 h 346936"/>
                <a:gd name="connsiteX1" fmla="*/ 2905864 w 2905863"/>
                <a:gd name="connsiteY1" fmla="*/ 0 h 346936"/>
                <a:gd name="connsiteX2" fmla="*/ 2905864 w 2905863"/>
                <a:gd name="connsiteY2" fmla="*/ 346937 h 346936"/>
                <a:gd name="connsiteX3" fmla="*/ 0 w 2905863"/>
                <a:gd name="connsiteY3" fmla="*/ 346937 h 34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346936">
                  <a:moveTo>
                    <a:pt x="0" y="0"/>
                  </a:moveTo>
                  <a:lnTo>
                    <a:pt x="2905864" y="0"/>
                  </a:lnTo>
                  <a:lnTo>
                    <a:pt x="2905864" y="346937"/>
                  </a:lnTo>
                  <a:lnTo>
                    <a:pt x="0" y="346937"/>
                  </a:lnTo>
                  <a:close/>
                </a:path>
              </a:pathLst>
            </a:custGeom>
            <a:solidFill>
              <a:srgbClr val="99D9F0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A2A81581-576B-48A7-8DE8-ED168555C1E3}"/>
                </a:ext>
              </a:extLst>
            </p:cNvPr>
            <p:cNvSpPr/>
            <p:nvPr/>
          </p:nvSpPr>
          <p:spPr>
            <a:xfrm>
              <a:off x="6380216" y="4521775"/>
              <a:ext cx="2905863" cy="57854"/>
            </a:xfrm>
            <a:custGeom>
              <a:avLst/>
              <a:gdLst>
                <a:gd name="connsiteX0" fmla="*/ 0 w 2905863"/>
                <a:gd name="connsiteY0" fmla="*/ 0 h 57854"/>
                <a:gd name="connsiteX1" fmla="*/ 2905864 w 2905863"/>
                <a:gd name="connsiteY1" fmla="*/ 0 h 57854"/>
                <a:gd name="connsiteX2" fmla="*/ 2905864 w 2905863"/>
                <a:gd name="connsiteY2" fmla="*/ 57854 h 57854"/>
                <a:gd name="connsiteX3" fmla="*/ 0 w 2905863"/>
                <a:gd name="connsiteY3" fmla="*/ 57854 h 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57854">
                  <a:moveTo>
                    <a:pt x="0" y="0"/>
                  </a:moveTo>
                  <a:lnTo>
                    <a:pt x="2905864" y="0"/>
                  </a:lnTo>
                  <a:lnTo>
                    <a:pt x="2905864" y="57854"/>
                  </a:lnTo>
                  <a:lnTo>
                    <a:pt x="0" y="57854"/>
                  </a:lnTo>
                  <a:close/>
                </a:path>
              </a:pathLst>
            </a:custGeom>
            <a:solidFill>
              <a:srgbClr val="3F9C35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AC230431-2867-4E73-880C-8C7079DEE770}"/>
                </a:ext>
              </a:extLst>
            </p:cNvPr>
            <p:cNvSpPr/>
            <p:nvPr/>
          </p:nvSpPr>
          <p:spPr>
            <a:xfrm>
              <a:off x="6380216" y="4637294"/>
              <a:ext cx="2905863" cy="115566"/>
            </a:xfrm>
            <a:custGeom>
              <a:avLst/>
              <a:gdLst>
                <a:gd name="connsiteX0" fmla="*/ 0 w 2905863"/>
                <a:gd name="connsiteY0" fmla="*/ 0 h 115566"/>
                <a:gd name="connsiteX1" fmla="*/ 2905864 w 2905863"/>
                <a:gd name="connsiteY1" fmla="*/ 0 h 115566"/>
                <a:gd name="connsiteX2" fmla="*/ 2905864 w 2905863"/>
                <a:gd name="connsiteY2" fmla="*/ 115566 h 115566"/>
                <a:gd name="connsiteX3" fmla="*/ 0 w 2905863"/>
                <a:gd name="connsiteY3" fmla="*/ 115566 h 115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115566">
                  <a:moveTo>
                    <a:pt x="0" y="0"/>
                  </a:moveTo>
                  <a:lnTo>
                    <a:pt x="2905864" y="0"/>
                  </a:lnTo>
                  <a:lnTo>
                    <a:pt x="2905864" y="115566"/>
                  </a:lnTo>
                  <a:lnTo>
                    <a:pt x="0" y="115566"/>
                  </a:lnTo>
                  <a:close/>
                </a:path>
              </a:pathLst>
            </a:custGeom>
            <a:solidFill>
              <a:srgbClr val="00359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4953E370-A14B-4752-8604-69F1D46FD559}"/>
                </a:ext>
              </a:extLst>
            </p:cNvPr>
            <p:cNvSpPr/>
            <p:nvPr/>
          </p:nvSpPr>
          <p:spPr>
            <a:xfrm>
              <a:off x="7833598" y="4927183"/>
              <a:ext cx="392545" cy="373134"/>
            </a:xfrm>
            <a:custGeom>
              <a:avLst/>
              <a:gdLst>
                <a:gd name="connsiteX0" fmla="*/ 303984 w 392545"/>
                <a:gd name="connsiteY0" fmla="*/ 19174 h 373134"/>
                <a:gd name="connsiteX1" fmla="*/ 201992 w 392545"/>
                <a:gd name="connsiteY1" fmla="*/ 0 h 373134"/>
                <a:gd name="connsiteX2" fmla="*/ 62173 w 392545"/>
                <a:gd name="connsiteY2" fmla="*/ 0 h 373134"/>
                <a:gd name="connsiteX3" fmla="*/ 27859 w 392545"/>
                <a:gd name="connsiteY3" fmla="*/ 0 h 373134"/>
                <a:gd name="connsiteX4" fmla="*/ 0 w 392545"/>
                <a:gd name="connsiteY4" fmla="*/ 0 h 373134"/>
                <a:gd name="connsiteX5" fmla="*/ 0 w 392545"/>
                <a:gd name="connsiteY5" fmla="*/ 373135 h 373134"/>
                <a:gd name="connsiteX6" fmla="*/ 27859 w 392545"/>
                <a:gd name="connsiteY6" fmla="*/ 373135 h 373134"/>
                <a:gd name="connsiteX7" fmla="*/ 62173 w 392545"/>
                <a:gd name="connsiteY7" fmla="*/ 373135 h 373134"/>
                <a:gd name="connsiteX8" fmla="*/ 201992 w 392545"/>
                <a:gd name="connsiteY8" fmla="*/ 373135 h 373134"/>
                <a:gd name="connsiteX9" fmla="*/ 303984 w 392545"/>
                <a:gd name="connsiteY9" fmla="*/ 353961 h 373134"/>
                <a:gd name="connsiteX10" fmla="*/ 369670 w 392545"/>
                <a:gd name="connsiteY10" fmla="*/ 296249 h 373134"/>
                <a:gd name="connsiteX11" fmla="*/ 392546 w 392545"/>
                <a:gd name="connsiteY11" fmla="*/ 199477 h 373134"/>
                <a:gd name="connsiteX12" fmla="*/ 392546 w 392545"/>
                <a:gd name="connsiteY12" fmla="*/ 173611 h 373134"/>
                <a:gd name="connsiteX13" fmla="*/ 369670 w 392545"/>
                <a:gd name="connsiteY13" fmla="*/ 76839 h 373134"/>
                <a:gd name="connsiteX14" fmla="*/ 303984 w 392545"/>
                <a:gd name="connsiteY14" fmla="*/ 19174 h 373134"/>
                <a:gd name="connsiteX15" fmla="*/ 331369 w 392545"/>
                <a:gd name="connsiteY15" fmla="*/ 197531 h 373134"/>
                <a:gd name="connsiteX16" fmla="*/ 299048 w 392545"/>
                <a:gd name="connsiteY16" fmla="*/ 287563 h 373134"/>
                <a:gd name="connsiteX17" fmla="*/ 202514 w 392545"/>
                <a:gd name="connsiteY17" fmla="*/ 316894 h 373134"/>
                <a:gd name="connsiteX18" fmla="*/ 62221 w 392545"/>
                <a:gd name="connsiteY18" fmla="*/ 316894 h 373134"/>
                <a:gd name="connsiteX19" fmla="*/ 62221 w 392545"/>
                <a:gd name="connsiteY19" fmla="*/ 56193 h 373134"/>
                <a:gd name="connsiteX20" fmla="*/ 202514 w 392545"/>
                <a:gd name="connsiteY20" fmla="*/ 56193 h 373134"/>
                <a:gd name="connsiteX21" fmla="*/ 299048 w 392545"/>
                <a:gd name="connsiteY21" fmla="*/ 84812 h 373134"/>
                <a:gd name="connsiteX22" fmla="*/ 331369 w 392545"/>
                <a:gd name="connsiteY22" fmla="*/ 175604 h 373134"/>
                <a:gd name="connsiteX23" fmla="*/ 331369 w 392545"/>
                <a:gd name="connsiteY23" fmla="*/ 197531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2545" h="373134">
                  <a:moveTo>
                    <a:pt x="303984" y="19174"/>
                  </a:moveTo>
                  <a:cubicBezTo>
                    <a:pt x="275461" y="6407"/>
                    <a:pt x="241479" y="0"/>
                    <a:pt x="201992" y="0"/>
                  </a:cubicBezTo>
                  <a:lnTo>
                    <a:pt x="62173" y="0"/>
                  </a:lnTo>
                  <a:lnTo>
                    <a:pt x="27859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27859" y="373135"/>
                  </a:lnTo>
                  <a:lnTo>
                    <a:pt x="62173" y="373135"/>
                  </a:lnTo>
                  <a:lnTo>
                    <a:pt x="201992" y="373135"/>
                  </a:lnTo>
                  <a:cubicBezTo>
                    <a:pt x="241479" y="373135"/>
                    <a:pt x="275461" y="366728"/>
                    <a:pt x="303984" y="353961"/>
                  </a:cubicBezTo>
                  <a:cubicBezTo>
                    <a:pt x="332508" y="341194"/>
                    <a:pt x="354387" y="321972"/>
                    <a:pt x="369670" y="296249"/>
                  </a:cubicBezTo>
                  <a:cubicBezTo>
                    <a:pt x="384904" y="270525"/>
                    <a:pt x="392546" y="238299"/>
                    <a:pt x="392546" y="199477"/>
                  </a:cubicBezTo>
                  <a:lnTo>
                    <a:pt x="392546" y="173611"/>
                  </a:lnTo>
                  <a:cubicBezTo>
                    <a:pt x="392546" y="134788"/>
                    <a:pt x="384904" y="102562"/>
                    <a:pt x="369670" y="76839"/>
                  </a:cubicBezTo>
                  <a:cubicBezTo>
                    <a:pt x="354387" y="51162"/>
                    <a:pt x="332508" y="31941"/>
                    <a:pt x="303984" y="19174"/>
                  </a:cubicBezTo>
                  <a:close/>
                  <a:moveTo>
                    <a:pt x="331369" y="197531"/>
                  </a:moveTo>
                  <a:cubicBezTo>
                    <a:pt x="331369" y="238015"/>
                    <a:pt x="320596" y="268010"/>
                    <a:pt x="299048" y="287563"/>
                  </a:cubicBezTo>
                  <a:cubicBezTo>
                    <a:pt x="277502" y="307117"/>
                    <a:pt x="245323" y="316894"/>
                    <a:pt x="202514" y="316894"/>
                  </a:cubicBezTo>
                  <a:lnTo>
                    <a:pt x="62221" y="316894"/>
                  </a:lnTo>
                  <a:lnTo>
                    <a:pt x="62221" y="56193"/>
                  </a:lnTo>
                  <a:lnTo>
                    <a:pt x="202514" y="56193"/>
                  </a:lnTo>
                  <a:cubicBezTo>
                    <a:pt x="245323" y="56193"/>
                    <a:pt x="277454" y="65733"/>
                    <a:pt x="299048" y="84812"/>
                  </a:cubicBezTo>
                  <a:cubicBezTo>
                    <a:pt x="320596" y="103891"/>
                    <a:pt x="331369" y="134171"/>
                    <a:pt x="331369" y="175604"/>
                  </a:cubicBezTo>
                  <a:lnTo>
                    <a:pt x="331369" y="197531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6EAE3BE-38C7-419F-AAB5-25C869D36117}"/>
                </a:ext>
              </a:extLst>
            </p:cNvPr>
            <p:cNvSpPr/>
            <p:nvPr/>
          </p:nvSpPr>
          <p:spPr>
            <a:xfrm>
              <a:off x="8344036" y="4927183"/>
              <a:ext cx="410485" cy="373134"/>
            </a:xfrm>
            <a:custGeom>
              <a:avLst/>
              <a:gdLst>
                <a:gd name="connsiteX0" fmla="*/ 349262 w 410485"/>
                <a:gd name="connsiteY0" fmla="*/ 291598 h 373134"/>
                <a:gd name="connsiteX1" fmla="*/ 60702 w 410485"/>
                <a:gd name="connsiteY1" fmla="*/ 0 h 373134"/>
                <a:gd name="connsiteX2" fmla="*/ 26388 w 410485"/>
                <a:gd name="connsiteY2" fmla="*/ 0 h 373134"/>
                <a:gd name="connsiteX3" fmla="*/ 0 w 410485"/>
                <a:gd name="connsiteY3" fmla="*/ 0 h 373134"/>
                <a:gd name="connsiteX4" fmla="*/ 0 w 410485"/>
                <a:gd name="connsiteY4" fmla="*/ 373135 h 373134"/>
                <a:gd name="connsiteX5" fmla="*/ 60702 w 410485"/>
                <a:gd name="connsiteY5" fmla="*/ 373135 h 373134"/>
                <a:gd name="connsiteX6" fmla="*/ 60702 w 410485"/>
                <a:gd name="connsiteY6" fmla="*/ 81917 h 373134"/>
                <a:gd name="connsiteX7" fmla="*/ 349262 w 410485"/>
                <a:gd name="connsiteY7" fmla="*/ 373135 h 373134"/>
                <a:gd name="connsiteX8" fmla="*/ 410486 w 410485"/>
                <a:gd name="connsiteY8" fmla="*/ 373135 h 373134"/>
                <a:gd name="connsiteX9" fmla="*/ 410486 w 410485"/>
                <a:gd name="connsiteY9" fmla="*/ 0 h 373134"/>
                <a:gd name="connsiteX10" fmla="*/ 349262 w 410485"/>
                <a:gd name="connsiteY10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485" h="373134">
                  <a:moveTo>
                    <a:pt x="349262" y="291598"/>
                  </a:moveTo>
                  <a:lnTo>
                    <a:pt x="60702" y="0"/>
                  </a:lnTo>
                  <a:lnTo>
                    <a:pt x="26388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60702" y="373135"/>
                  </a:lnTo>
                  <a:lnTo>
                    <a:pt x="60702" y="81917"/>
                  </a:lnTo>
                  <a:lnTo>
                    <a:pt x="349262" y="373135"/>
                  </a:lnTo>
                  <a:lnTo>
                    <a:pt x="410486" y="373135"/>
                  </a:lnTo>
                  <a:lnTo>
                    <a:pt x="410486" y="0"/>
                  </a:lnTo>
                  <a:lnTo>
                    <a:pt x="349262" y="0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4311A0A-BE4B-477F-A258-403879A87BF4}"/>
                </a:ext>
              </a:extLst>
            </p:cNvPr>
            <p:cNvSpPr/>
            <p:nvPr/>
          </p:nvSpPr>
          <p:spPr>
            <a:xfrm>
              <a:off x="8863965" y="4927183"/>
              <a:ext cx="421876" cy="373134"/>
            </a:xfrm>
            <a:custGeom>
              <a:avLst/>
              <a:gdLst>
                <a:gd name="connsiteX0" fmla="*/ 355716 w 421876"/>
                <a:gd name="connsiteY0" fmla="*/ 0 h 373134"/>
                <a:gd name="connsiteX1" fmla="*/ 212955 w 421876"/>
                <a:gd name="connsiteY1" fmla="*/ 291598 h 373134"/>
                <a:gd name="connsiteX2" fmla="*/ 70146 w 421876"/>
                <a:gd name="connsiteY2" fmla="*/ 0 h 373134"/>
                <a:gd name="connsiteX3" fmla="*/ 0 w 421876"/>
                <a:gd name="connsiteY3" fmla="*/ 0 h 373134"/>
                <a:gd name="connsiteX4" fmla="*/ 187042 w 421876"/>
                <a:gd name="connsiteY4" fmla="*/ 373135 h 373134"/>
                <a:gd name="connsiteX5" fmla="*/ 235309 w 421876"/>
                <a:gd name="connsiteY5" fmla="*/ 373135 h 373134"/>
                <a:gd name="connsiteX6" fmla="*/ 421876 w 421876"/>
                <a:gd name="connsiteY6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876" h="373134">
                  <a:moveTo>
                    <a:pt x="355716" y="0"/>
                  </a:moveTo>
                  <a:lnTo>
                    <a:pt x="212955" y="291598"/>
                  </a:lnTo>
                  <a:lnTo>
                    <a:pt x="70146" y="0"/>
                  </a:lnTo>
                  <a:lnTo>
                    <a:pt x="0" y="0"/>
                  </a:lnTo>
                  <a:lnTo>
                    <a:pt x="187042" y="373135"/>
                  </a:lnTo>
                  <a:lnTo>
                    <a:pt x="235309" y="373135"/>
                  </a:lnTo>
                  <a:lnTo>
                    <a:pt x="421876" y="0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49" name="SD_FLD_Draft" hidden="1">
            <a:extLst>
              <a:ext uri="{FF2B5EF4-FFF2-40B4-BE49-F238E27FC236}">
                <a16:creationId xmlns:a16="http://schemas.microsoft.com/office/drawing/2014/main" id="{EBD04EA3-2614-447C-8C02-69A389AD5F0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 dirty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47" name="_SD_FLD_Copyright">
            <a:extLst>
              <a:ext uri="{FF2B5EF4-FFF2-40B4-BE49-F238E27FC236}">
                <a16:creationId xmlns:a16="http://schemas.microsoft.com/office/drawing/2014/main" id="{53E6BA7D-8DF4-47CE-AF54-7BD90D24EA6F}"/>
              </a:ext>
            </a:extLst>
          </p:cNvPr>
          <p:cNvSpPr txBox="1"/>
          <p:nvPr userDrawn="1"/>
        </p:nvSpPr>
        <p:spPr>
          <a:xfrm>
            <a:off x="818923" y="6449138"/>
            <a:ext cx="27892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noProof="0" dirty="0">
                <a:solidFill>
                  <a:schemeClr val="accent1"/>
                </a:solidFill>
              </a:rPr>
              <a:t>DNV ©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534C68A1-66E1-4F67-9848-2C9B553F72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68587" y="6445820"/>
            <a:ext cx="107134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en-GB" sz="700" smtClean="0">
                <a:solidFill>
                  <a:schemeClr val="accent1"/>
                </a:solidFill>
              </a:defRPr>
            </a:lvl1pPr>
          </a:lstStyle>
          <a:p>
            <a:r>
              <a:rPr lang="en-US"/>
              <a:t>Rev. 1.0</a:t>
            </a:r>
            <a:endParaRPr lang="de-DE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6DB3F243-3F65-4BAC-8E6C-1B93CE6B7D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70596" y="6439418"/>
            <a:ext cx="8340404" cy="111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de-DE" sz="700" dirty="0">
                <a:solidFill>
                  <a:schemeClr val="accent1"/>
                </a:solidFill>
              </a:defRPr>
            </a:lvl1pPr>
          </a:lstStyle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FAA05EEB-C2AD-4D65-AEA1-C2E89F02F9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392" y="6447406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lvl1pPr>
              <a:defRPr lang="de-DE" sz="700" smtClean="0">
                <a:solidFill>
                  <a:schemeClr val="accent1"/>
                </a:solidFill>
              </a:defRPr>
            </a:lvl1pPr>
          </a:lstStyle>
          <a:p>
            <a:fld id="{300F8F77-4347-4BF0-A9D7-4E51985595AC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37"/>
    </p:custDataLst>
    <p:extLst>
      <p:ext uri="{BB962C8B-B14F-4D97-AF65-F5344CB8AC3E}">
        <p14:creationId xmlns:p14="http://schemas.microsoft.com/office/powerpoint/2010/main" val="438226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8" r:id="rId2"/>
    <p:sldLayoutId id="2147483679" r:id="rId3"/>
    <p:sldLayoutId id="2147483680" r:id="rId4"/>
    <p:sldLayoutId id="2147483661" r:id="rId5"/>
    <p:sldLayoutId id="2147483702" r:id="rId6"/>
    <p:sldLayoutId id="2147483682" r:id="rId7"/>
    <p:sldLayoutId id="2147483674" r:id="rId8"/>
    <p:sldLayoutId id="2147483651" r:id="rId9"/>
    <p:sldLayoutId id="2147483650" r:id="rId10"/>
    <p:sldLayoutId id="2147483683" r:id="rId11"/>
    <p:sldLayoutId id="2147483698" r:id="rId12"/>
    <p:sldLayoutId id="2147483699" r:id="rId13"/>
    <p:sldLayoutId id="2147483652" r:id="rId14"/>
    <p:sldLayoutId id="2147483684" r:id="rId15"/>
    <p:sldLayoutId id="2147483685" r:id="rId16"/>
    <p:sldLayoutId id="2147483686" r:id="rId17"/>
    <p:sldLayoutId id="2147483664" r:id="rId18"/>
    <p:sldLayoutId id="2147483701" r:id="rId19"/>
    <p:sldLayoutId id="2147483695" r:id="rId20"/>
    <p:sldLayoutId id="2147483696" r:id="rId21"/>
    <p:sldLayoutId id="2147483690" r:id="rId22"/>
    <p:sldLayoutId id="2147483691" r:id="rId23"/>
    <p:sldLayoutId id="2147483697" r:id="rId24"/>
    <p:sldLayoutId id="2147483694" r:id="rId25"/>
    <p:sldLayoutId id="2147483655" r:id="rId26"/>
    <p:sldLayoutId id="2147483667" r:id="rId27"/>
    <p:sldLayoutId id="2147483692" r:id="rId28"/>
    <p:sldLayoutId id="2147483693" r:id="rId29"/>
    <p:sldLayoutId id="2147483703" r:id="rId30"/>
    <p:sldLayoutId id="2147483704" r:id="rId31"/>
    <p:sldLayoutId id="2147483705" r:id="rId32"/>
    <p:sldLayoutId id="2147483706" r:id="rId33"/>
    <p:sldLayoutId id="2147483707" r:id="rId34"/>
    <p:sldLayoutId id="2147483708" r:id="rId35"/>
  </p:sldLayoutIdLst>
  <p:hf hd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28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buClrTx/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600"/>
        </a:spcBef>
        <a:buClrTx/>
        <a:buFont typeface="Arial" panose="020B0604020202020204" pitchFamily="34" charset="0"/>
        <a:buChar char="​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200"/>
        </a:spcBef>
        <a:buClrTx/>
        <a:buFont typeface="Arial" panose="020B0604020202020204" pitchFamily="34" charset="0"/>
        <a:buChar char="​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spcBef>
          <a:spcPts val="600"/>
        </a:spcBef>
        <a:buFont typeface="Arial" panose="020B0604020202020204" pitchFamily="34" charset="0"/>
        <a:buChar char="​"/>
        <a:defRPr sz="1000" b="1" kern="120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spcBef>
          <a:spcPts val="600"/>
        </a:spcBef>
        <a:buFont typeface="Arial" panose="020B0604020202020204" pitchFamily="34" charset="0"/>
        <a:buChar char="​"/>
        <a:defRPr sz="10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80000" indent="-180000" algn="l" defTabSz="914400" rtl="0" eaLnBrk="1" latinLnBrk="0" hangingPunct="1">
        <a:spcBef>
          <a:spcPts val="600"/>
        </a:spcBef>
        <a:buFont typeface="Arial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83000"/>
        </a:lnSpc>
        <a:spcBef>
          <a:spcPts val="0"/>
        </a:spcBef>
        <a:buFont typeface="Arial" panose="020B0604020202020204" pitchFamily="34" charset="0"/>
        <a:buChar char="​"/>
        <a:defRPr sz="6000" b="1" kern="1200" spc="-300" baseline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 userDrawn="1">
          <p15:clr>
            <a:srgbClr val="F26B43"/>
          </p15:clr>
        </p15:guide>
        <p15:guide id="2" pos="819" userDrawn="1">
          <p15:clr>
            <a:srgbClr val="F26B43"/>
          </p15:clr>
        </p15:guide>
        <p15:guide id="3" orient="horz" pos="340" userDrawn="1">
          <p15:clr>
            <a:srgbClr val="F26B43"/>
          </p15:clr>
        </p15:guide>
        <p15:guide id="4" orient="horz" pos="3809" userDrawn="1">
          <p15:clr>
            <a:srgbClr val="F26B43"/>
          </p15:clr>
        </p15:guide>
        <p15:guide id="5" pos="932" userDrawn="1">
          <p15:clr>
            <a:srgbClr val="F26B43"/>
          </p15:clr>
        </p15:guide>
        <p15:guide id="6" pos="1412" userDrawn="1">
          <p15:clr>
            <a:srgbClr val="F26B43"/>
          </p15:clr>
        </p15:guide>
        <p15:guide id="7" pos="1525" userDrawn="1">
          <p15:clr>
            <a:srgbClr val="F26B43"/>
          </p15:clr>
        </p15:guide>
        <p15:guide id="8" pos="2005" userDrawn="1">
          <p15:clr>
            <a:srgbClr val="F26B43"/>
          </p15:clr>
        </p15:guide>
        <p15:guide id="9" pos="2118" userDrawn="1">
          <p15:clr>
            <a:srgbClr val="F26B43"/>
          </p15:clr>
        </p15:guide>
        <p15:guide id="10" pos="2597" userDrawn="1">
          <p15:clr>
            <a:srgbClr val="F26B43"/>
          </p15:clr>
        </p15:guide>
        <p15:guide id="11" pos="2711" userDrawn="1">
          <p15:clr>
            <a:srgbClr val="F26B43"/>
          </p15:clr>
        </p15:guide>
        <p15:guide id="12" pos="3190" userDrawn="1">
          <p15:clr>
            <a:srgbClr val="F26B43"/>
          </p15:clr>
        </p15:guide>
        <p15:guide id="13" pos="3303" userDrawn="1">
          <p15:clr>
            <a:srgbClr val="F26B43"/>
          </p15:clr>
        </p15:guide>
        <p15:guide id="14" pos="3783" userDrawn="1">
          <p15:clr>
            <a:srgbClr val="F26B43"/>
          </p15:clr>
        </p15:guide>
        <p15:guide id="15" pos="3896" userDrawn="1">
          <p15:clr>
            <a:srgbClr val="F26B43"/>
          </p15:clr>
        </p15:guide>
        <p15:guide id="16" pos="4376" userDrawn="1">
          <p15:clr>
            <a:srgbClr val="F26B43"/>
          </p15:clr>
        </p15:guide>
        <p15:guide id="17" pos="4489" userDrawn="1">
          <p15:clr>
            <a:srgbClr val="F26B43"/>
          </p15:clr>
        </p15:guide>
        <p15:guide id="18" pos="4968" userDrawn="1">
          <p15:clr>
            <a:srgbClr val="F26B43"/>
          </p15:clr>
        </p15:guide>
        <p15:guide id="19" pos="5082" userDrawn="1">
          <p15:clr>
            <a:srgbClr val="F26B43"/>
          </p15:clr>
        </p15:guide>
        <p15:guide id="20" pos="5561" userDrawn="1">
          <p15:clr>
            <a:srgbClr val="F26B43"/>
          </p15:clr>
        </p15:guide>
        <p15:guide id="21" pos="5674" userDrawn="1">
          <p15:clr>
            <a:srgbClr val="F26B43"/>
          </p15:clr>
        </p15:guide>
        <p15:guide id="22" pos="6154" userDrawn="1">
          <p15:clr>
            <a:srgbClr val="F26B43"/>
          </p15:clr>
        </p15:guide>
        <p15:guide id="23" pos="6267" userDrawn="1">
          <p15:clr>
            <a:srgbClr val="F26B43"/>
          </p15:clr>
        </p15:guide>
        <p15:guide id="24" pos="6747" userDrawn="1">
          <p15:clr>
            <a:srgbClr val="F26B43"/>
          </p15:clr>
        </p15:guide>
        <p15:guide id="25" pos="6860" userDrawn="1">
          <p15:clr>
            <a:srgbClr val="F26B43"/>
          </p15:clr>
        </p15:guide>
        <p15:guide id="26" pos="7339" userDrawn="1">
          <p15:clr>
            <a:srgbClr val="F26B43"/>
          </p15:clr>
        </p15:guide>
        <p15:guide id="27" orient="horz" pos="10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5.xml"/><Relationship Id="rId4" Type="http://schemas.openxmlformats.org/officeDocument/2006/relationships/image" Target="../media/image2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iacs.org.uk/download/14104" TargetMode="External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hyperlink" Target="https://iacs.org.uk/download/14105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64.xml"/><Relationship Id="rId4" Type="http://schemas.openxmlformats.org/officeDocument/2006/relationships/hyperlink" Target="mailto:Shaun.Reardon@dnv.com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7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1.wmf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6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32.emf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slideLayout" Target="../slideLayouts/slideLayout10.xml"/><Relationship Id="rId7" Type="http://schemas.openxmlformats.org/officeDocument/2006/relationships/diagramData" Target="../diagrams/data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33.emf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2.bin"/><Relationship Id="rId10" Type="http://schemas.openxmlformats.org/officeDocument/2006/relationships/diagramColors" Target="../diagrams/colors2.xml"/><Relationship Id="rId4" Type="http://schemas.openxmlformats.org/officeDocument/2006/relationships/notesSlide" Target="../notesSlides/notesSlide5.xml"/><Relationship Id="rId9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2.xml"/><Relationship Id="rId4" Type="http://schemas.openxmlformats.org/officeDocument/2006/relationships/image" Target="../media/image4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emf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50.emf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3.xml"/><Relationship Id="rId6" Type="http://schemas.openxmlformats.org/officeDocument/2006/relationships/image" Target="../media/image49.emf"/><Relationship Id="rId11" Type="http://schemas.openxmlformats.org/officeDocument/2006/relationships/comments" Target="../comments/comment1.xml"/><Relationship Id="rId5" Type="http://schemas.openxmlformats.org/officeDocument/2006/relationships/image" Target="../media/image48.emf"/><Relationship Id="rId10" Type="http://schemas.openxmlformats.org/officeDocument/2006/relationships/image" Target="../media/image52.png"/><Relationship Id="rId4" Type="http://schemas.openxmlformats.org/officeDocument/2006/relationships/image" Target="../media/image47.png"/><Relationship Id="rId9" Type="http://schemas.openxmlformats.org/officeDocument/2006/relationships/hyperlink" Target="http://www.imo.org/Pages/home.aspx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55.png"/><Relationship Id="rId4" Type="http://schemas.openxmlformats.org/officeDocument/2006/relationships/image" Target="../media/image5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/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46" b="7646"/>
          <a:stretch/>
        </p:blipFill>
        <p:spPr/>
      </p:pic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000" b="1" dirty="0"/>
              <a:t>Maritime Day </a:t>
            </a:r>
            <a:br>
              <a:rPr lang="en-US" sz="2000" b="1" dirty="0"/>
            </a:br>
            <a:br>
              <a:rPr lang="en-US" sz="2000" b="1" dirty="0"/>
            </a:br>
            <a:r>
              <a:rPr lang="en-US" sz="2000" b="1" dirty="0"/>
              <a:t>Maritime Cyber Resilience and Security in the light of new regulations IACS UR E26 / UR E27</a:t>
            </a:r>
            <a:br>
              <a:rPr lang="en-US" sz="2000" b="1" dirty="0"/>
            </a:br>
            <a:br>
              <a:rPr lang="en-US" sz="2000" b="1" dirty="0"/>
            </a:br>
            <a:br>
              <a:rPr lang="en-US" sz="2000" b="1" dirty="0"/>
            </a:br>
            <a:br>
              <a:rPr lang="en-US" sz="2000" b="1" dirty="0"/>
            </a:br>
            <a:br>
              <a:rPr lang="en-US" sz="2000" b="1" dirty="0"/>
            </a:br>
            <a:endParaRPr lang="en-GB" sz="1800" dirty="0"/>
          </a:p>
        </p:txBody>
      </p:sp>
      <p:sp>
        <p:nvSpPr>
          <p:cNvPr id="8" name="Untertitel 7"/>
          <p:cNvSpPr>
            <a:spLocks noGrp="1"/>
          </p:cNvSpPr>
          <p:nvPr>
            <p:ph type="subTitle" idx="1"/>
          </p:nvPr>
        </p:nvSpPr>
        <p:spPr>
          <a:xfrm>
            <a:off x="539750" y="2852936"/>
            <a:ext cx="6586538" cy="432048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>
                <a:cs typeface="Arial"/>
              </a:rPr>
              <a:t>Shaun Reardon  </a:t>
            </a:r>
            <a:r>
              <a:rPr lang="en-GB" dirty="0"/>
              <a:t>DNV Maritime Cyber Security Advisory</a:t>
            </a:r>
          </a:p>
          <a:p>
            <a:endParaRPr lang="de-DE" dirty="0">
              <a:cs typeface="Arial"/>
            </a:endParaRP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10A8D391-21D5-44DA-842F-6B1D4CDB860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Rev. 1.0</a:t>
            </a:r>
            <a:endParaRPr lang="en-GB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20867727-5F2A-4A22-86B9-CB1BD825763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noFill/>
              </a:rPr>
              <a:t>Maritime Cyber Security</a:t>
            </a:r>
            <a:endParaRPr lang="en-GB" dirty="0">
              <a:noFill/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A1E80DDC-71E2-485F-895E-E4083F5F84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pPr/>
              <a:t>1</a:t>
            </a:fld>
            <a:endParaRPr lang="en-GB" sz="1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18507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F3130D-2F5C-4C92-A54E-472DA53037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GB" sz="2400" dirty="0"/>
              <a:t>IACS released Unified Requirements on Cyber Security for ships and ship’s systems</a:t>
            </a:r>
            <a:endParaRPr lang="en-GB" sz="320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487AEAA-C1A9-472F-84A9-AD63A9433F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749" y="1270188"/>
            <a:ext cx="7428459" cy="4317624"/>
          </a:xfrm>
        </p:spPr>
        <p:txBody>
          <a:bodyPr/>
          <a:lstStyle/>
          <a:p>
            <a:r>
              <a:rPr lang="en-GB" sz="1600" b="0" i="0" dirty="0">
                <a:effectLst/>
                <a:latin typeface="Neue Helvetica W01"/>
              </a:rPr>
              <a:t>Applies to new ships </a:t>
            </a:r>
            <a:r>
              <a:rPr lang="en-GB" sz="1600" b="1" i="0" dirty="0">
                <a:effectLst/>
                <a:latin typeface="Neue Helvetica W01"/>
              </a:rPr>
              <a:t>contracted for construction on and after 1 January 2024. </a:t>
            </a:r>
            <a:r>
              <a:rPr lang="en-GB" sz="1600" b="0" i="0" dirty="0">
                <a:effectLst/>
                <a:latin typeface="Neue Helvetica W01"/>
              </a:rPr>
              <a:t>May be applied in the interim as non-mandatory class notation.</a:t>
            </a:r>
          </a:p>
          <a:p>
            <a:r>
              <a:rPr lang="en-GB" sz="1600" b="1" i="0" u="none" strike="noStrike" dirty="0">
                <a:solidFill>
                  <a:srgbClr val="0088CB"/>
                </a:solidFill>
                <a:effectLst/>
                <a:latin typeface="Neue Helvetica W01"/>
                <a:hlinkClick r:id="rId3"/>
              </a:rPr>
              <a:t>UR E26</a:t>
            </a:r>
            <a:r>
              <a:rPr lang="en-GB" sz="1600" b="0" i="0" dirty="0">
                <a:solidFill>
                  <a:srgbClr val="6B6B6C"/>
                </a:solidFill>
                <a:effectLst/>
                <a:latin typeface="Neue Helvetica W01"/>
              </a:rPr>
              <a:t> </a:t>
            </a:r>
            <a:r>
              <a:rPr lang="en-GB" sz="1600" b="0" i="0" dirty="0">
                <a:effectLst/>
                <a:latin typeface="Neue Helvetica W01"/>
              </a:rPr>
              <a:t>secure integration of Operational Technology (OT) and Information Technology (IT) equipment </a:t>
            </a:r>
            <a:r>
              <a:rPr lang="en-GB" sz="1600" dirty="0">
                <a:latin typeface="Neue Helvetica W01"/>
              </a:rPr>
              <a:t>interfaces into </a:t>
            </a:r>
            <a:r>
              <a:rPr lang="en-GB" sz="1600" b="0" i="0" dirty="0">
                <a:effectLst/>
                <a:latin typeface="Neue Helvetica W01"/>
              </a:rPr>
              <a:t>the vessel’s network architecture during the design, construction and commissioning of the ship</a:t>
            </a:r>
            <a:r>
              <a:rPr lang="en-GB" sz="1600" dirty="0">
                <a:latin typeface="Neue Helvetica W01"/>
              </a:rPr>
              <a:t> – </a:t>
            </a:r>
            <a:r>
              <a:rPr lang="en-GB" sz="1600" b="1" dirty="0">
                <a:latin typeface="Neue Helvetica W01"/>
              </a:rPr>
              <a:t>owners and yards</a:t>
            </a:r>
            <a:r>
              <a:rPr lang="en-GB" sz="1600" dirty="0">
                <a:latin typeface="Neue Helvetica W01"/>
              </a:rPr>
              <a:t>.</a:t>
            </a:r>
            <a:endParaRPr lang="en-GB" sz="1600" b="0" i="0" dirty="0">
              <a:effectLst/>
              <a:latin typeface="Neue Helvetica W01"/>
            </a:endParaRPr>
          </a:p>
          <a:p>
            <a:pPr algn="l"/>
            <a:r>
              <a:rPr lang="en-GB" sz="1600" b="1" i="0" u="none" strike="noStrike" dirty="0">
                <a:solidFill>
                  <a:srgbClr val="0088CB"/>
                </a:solidFill>
                <a:effectLst/>
                <a:latin typeface="Neue Helvetica W01"/>
                <a:hlinkClick r:id="rId4"/>
              </a:rPr>
              <a:t>UR E27</a:t>
            </a:r>
            <a:r>
              <a:rPr lang="en-GB" sz="1600" b="0" i="0" dirty="0">
                <a:solidFill>
                  <a:srgbClr val="6B6B6C"/>
                </a:solidFill>
                <a:effectLst/>
                <a:latin typeface="Neue Helvetica W01"/>
              </a:rPr>
              <a:t> </a:t>
            </a:r>
            <a:r>
              <a:rPr lang="en-GB" sz="1600" b="0" i="0" dirty="0">
                <a:effectLst/>
                <a:latin typeface="Neue Helvetica W01"/>
              </a:rPr>
              <a:t>ensure system integrity secured and hardened by 3</a:t>
            </a:r>
            <a:r>
              <a:rPr lang="en-GB" sz="1600" b="0" i="0" baseline="30000" dirty="0">
                <a:effectLst/>
                <a:latin typeface="Neue Helvetica W01"/>
              </a:rPr>
              <a:t>rd</a:t>
            </a:r>
            <a:r>
              <a:rPr lang="en-GB" sz="1600" b="0" i="0" dirty="0">
                <a:effectLst/>
                <a:latin typeface="Neue Helvetica W01"/>
              </a:rPr>
              <a:t> </a:t>
            </a:r>
            <a:r>
              <a:rPr lang="en-GB" sz="1600" i="0" dirty="0">
                <a:effectLst/>
                <a:latin typeface="Neue Helvetica W01"/>
              </a:rPr>
              <a:t>equipment suppliers </a:t>
            </a:r>
            <a:r>
              <a:rPr lang="en-GB" sz="1600" b="0" i="0" dirty="0">
                <a:effectLst/>
                <a:latin typeface="Neue Helvetica W01"/>
              </a:rPr>
              <a:t>and provides requirements for cyber resilience of onboard systems, including Secure Development Life Cycle (SDLC) – </a:t>
            </a:r>
            <a:r>
              <a:rPr lang="en-GB" sz="1600" b="1" i="0" dirty="0">
                <a:effectLst/>
                <a:latin typeface="Neue Helvetica W01"/>
              </a:rPr>
              <a:t>suppliers.</a:t>
            </a:r>
          </a:p>
          <a:p>
            <a:pPr algn="l"/>
            <a:r>
              <a:rPr lang="en-GB" sz="1600" dirty="0">
                <a:latin typeface="Neue Helvetica W01"/>
              </a:rPr>
              <a:t>A new revision of these UR’s will look at survey requirements.</a:t>
            </a:r>
            <a:endParaRPr lang="en-GB" sz="1600" b="0" i="0" dirty="0">
              <a:effectLst/>
              <a:latin typeface="Neue Helvetica W01"/>
            </a:endParaRPr>
          </a:p>
          <a:p>
            <a:pPr algn="l"/>
            <a:r>
              <a:rPr lang="en-GB" sz="1600" b="1" dirty="0">
                <a:latin typeface="Neue Helvetica W01"/>
              </a:rPr>
              <a:t>Supports owner with concrete barriers to meet IMO </a:t>
            </a:r>
            <a:r>
              <a:rPr lang="en-GB" sz="1600" dirty="0">
                <a:latin typeface="Neue Helvetica W01"/>
              </a:rPr>
              <a:t>resolution MSC.428(98).</a:t>
            </a:r>
          </a:p>
          <a:p>
            <a:pPr algn="l"/>
            <a:r>
              <a:rPr lang="en-GB" sz="1600" b="1" dirty="0">
                <a:latin typeface="Neue Helvetica W01"/>
              </a:rPr>
              <a:t>Vendors</a:t>
            </a:r>
            <a:r>
              <a:rPr lang="en-GB" sz="1600" dirty="0">
                <a:latin typeface="Neue Helvetica W01"/>
              </a:rPr>
              <a:t> of onboard automation and navigation systems </a:t>
            </a:r>
            <a:r>
              <a:rPr lang="en-GB" sz="1600" b="1" dirty="0">
                <a:latin typeface="Neue Helvetica W01"/>
              </a:rPr>
              <a:t>should act now </a:t>
            </a:r>
            <a:r>
              <a:rPr lang="en-GB" sz="1600" dirty="0">
                <a:latin typeface="Neue Helvetica W01"/>
              </a:rPr>
              <a:t>due to potential longer development process.</a:t>
            </a:r>
          </a:p>
          <a:p>
            <a:pPr algn="l"/>
            <a:r>
              <a:rPr lang="en-GB" sz="1600" dirty="0">
                <a:latin typeface="Neue Helvetica W01"/>
              </a:rPr>
              <a:t>IACS UR E26 and UR E27 are implemented or will be implemented in all major Class Societies, such as DNV</a:t>
            </a:r>
          </a:p>
          <a:p>
            <a:pPr algn="l"/>
            <a:r>
              <a:rPr lang="en-GB" sz="1600" b="1" dirty="0">
                <a:latin typeface="Neue Helvetica W01"/>
              </a:rPr>
              <a:t>DNV’s current cyber security rules </a:t>
            </a:r>
            <a:r>
              <a:rPr lang="en-GB" sz="1600" dirty="0">
                <a:latin typeface="Neue Helvetica W01"/>
              </a:rPr>
              <a:t>with more than 100 vessels &amp; systems contracted is </a:t>
            </a:r>
            <a:r>
              <a:rPr lang="en-GB" sz="1600" b="1" dirty="0">
                <a:latin typeface="Neue Helvetica W01"/>
              </a:rPr>
              <a:t>fully aligned with IACS URs</a:t>
            </a:r>
            <a:r>
              <a:rPr lang="en-GB" sz="1600" dirty="0">
                <a:latin typeface="Neue Helvetica W01"/>
              </a:rPr>
              <a:t>, both being based on the recognized standard IEC 62443.</a:t>
            </a:r>
            <a:endParaRPr lang="en-GB" sz="16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24F0E8-62E6-419F-B91E-740890C5C6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l" defTabSz="914400" rtl="0" eaLnBrk="1" latinLnBrk="0" hangingPunct="1">
              <a:defRPr sz="700" b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Internal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63A8D9-1A9F-48F9-9DC2-56804291F7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l" defTabSz="914400" rtl="0" eaLnBrk="1" latinLnBrk="0" hangingPunct="1"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BA07366-CB75-4AA8-9E5B-928B849F427C}" type="slidenum">
              <a:rPr lang="en-GB" smtClean="0"/>
              <a:pPr/>
              <a:t>10</a:t>
            </a:fld>
            <a:endParaRPr lang="en-GB" dirty="0"/>
          </a:p>
        </p:txBody>
      </p:sp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E0D2926E-85BE-4CC3-B6E0-9D9A4CCA853F}"/>
              </a:ext>
            </a:extLst>
          </p:cNvPr>
          <p:cNvPicPr>
            <a:picLocks noGrp="1" noChangeAspect="1"/>
          </p:cNvPicPr>
          <p:nvPr>
            <p:ph sz="half" idx="4294967295"/>
          </p:nvPr>
        </p:nvPicPr>
        <p:blipFill>
          <a:blip r:embed="rId5"/>
          <a:stretch>
            <a:fillRect/>
          </a:stretch>
        </p:blipFill>
        <p:spPr>
          <a:xfrm>
            <a:off x="8261647" y="3570370"/>
            <a:ext cx="3157537" cy="25130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A6B4FB1-4C95-46D4-8841-F86ED6CBDD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84232" y="3233309"/>
            <a:ext cx="3392730" cy="26769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4D50838-0692-4E02-9F3C-6DCDEEE0C26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68208" y="1753910"/>
            <a:ext cx="3744416" cy="1171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7910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F69C3C8-1EE3-4070-87EA-38845D6B86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089" y="539750"/>
            <a:ext cx="11110914" cy="936000"/>
          </a:xfrm>
        </p:spPr>
        <p:txBody>
          <a:bodyPr/>
          <a:lstStyle/>
          <a:p>
            <a:r>
              <a:rPr lang="en-GB" dirty="0"/>
              <a:t>The Maritime Cyber Priority</a:t>
            </a:r>
            <a:br>
              <a:rPr lang="en-GB" dirty="0"/>
            </a:br>
            <a:r>
              <a:rPr lang="en-GB" sz="2800" dirty="0"/>
              <a:t>Launch  6</a:t>
            </a:r>
            <a:r>
              <a:rPr lang="en-GB" sz="2800" baseline="30000" dirty="0"/>
              <a:t>th</a:t>
            </a:r>
            <a:r>
              <a:rPr lang="en-GB" sz="2800" dirty="0"/>
              <a:t> of June </a:t>
            </a:r>
            <a:endParaRPr lang="en-GB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14FAE10-4417-4F93-BB0A-D01F6DF76A7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2466" y="1772816"/>
            <a:ext cx="6407150" cy="3672408"/>
          </a:xfrm>
        </p:spPr>
        <p:txBody>
          <a:bodyPr/>
          <a:lstStyle/>
          <a:p>
            <a:r>
              <a:rPr lang="en-GB" sz="1600" dirty="0"/>
              <a:t>Research exploring changing attitudes and approaches to cyber security in the Maritime sector drawing on the broad opinions of industry professionals.</a:t>
            </a:r>
          </a:p>
          <a:p>
            <a:r>
              <a:rPr lang="en-GB" sz="1600" dirty="0"/>
              <a:t>Based on a survey of DNV customers and in-depth interviews, together with DNV expertise we explore:</a:t>
            </a:r>
            <a:endParaRPr lang="en-GB" sz="1600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342900" lvl="0" indent="-34290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●"/>
            </a:pPr>
            <a:r>
              <a:rPr lang="en-GB" sz="1600" u="none" strike="noStrike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How real is the industry’s awareness of the threat? </a:t>
            </a:r>
          </a:p>
          <a:p>
            <a:pPr marL="342900" lvl="0" indent="-342900">
              <a:lnSpc>
                <a:spcPct val="115000"/>
              </a:lnSpc>
              <a:buSzPct val="80000"/>
              <a:buFont typeface="Arial" panose="020B0604020202020204" pitchFamily="34" charset="0"/>
              <a:buChar char="●"/>
            </a:pPr>
            <a:r>
              <a:rPr lang="en-GB" sz="1600" u="none" strike="noStrike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What action is being taken to prevent it? </a:t>
            </a:r>
          </a:p>
          <a:p>
            <a:pPr marL="342900" lvl="0" indent="-342900">
              <a:lnSpc>
                <a:spcPct val="115000"/>
              </a:lnSpc>
              <a:spcAft>
                <a:spcPts val="1200"/>
              </a:spcAft>
              <a:buSzPct val="80000"/>
              <a:buFont typeface="Arial" panose="020B0604020202020204" pitchFamily="34" charset="0"/>
              <a:buChar char="●"/>
            </a:pPr>
            <a:r>
              <a:rPr lang="en-GB" sz="1600" dirty="0">
                <a:latin typeface="Arial" panose="020B0604020202020204" pitchFamily="34" charset="0"/>
              </a:rPr>
              <a:t>Where is investment being prioritized? </a:t>
            </a:r>
          </a:p>
          <a:p>
            <a:pPr marL="342900" lvl="0" indent="-342900">
              <a:lnSpc>
                <a:spcPct val="115000"/>
              </a:lnSpc>
              <a:spcAft>
                <a:spcPts val="1200"/>
              </a:spcAft>
              <a:buSzPct val="80000"/>
              <a:buFont typeface="Arial" panose="020B0604020202020204" pitchFamily="34" charset="0"/>
              <a:buChar char="●"/>
            </a:pPr>
            <a:r>
              <a:rPr lang="en-GB" sz="1600" dirty="0">
                <a:latin typeface="Arial" panose="020B0604020202020204" pitchFamily="34" charset="0"/>
              </a:rPr>
              <a:t>What are the drivers and barriers for cyber security?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6EF7BC-0E6D-4690-B6A3-C0EE4F4766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40000" y="6440400"/>
            <a:ext cx="266400" cy="1512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l" defTabSz="914400" rtl="0" eaLnBrk="1" latinLnBrk="0" hangingPunct="1"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BA07366-CB75-4AA8-9E5B-928B849F427C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0E6F11E9-0A31-462A-BA83-D52C31A66BC6}"/>
              </a:ext>
            </a:extLst>
          </p:cNvPr>
          <p:cNvSpPr txBox="1">
            <a:spLocks/>
          </p:cNvSpPr>
          <p:nvPr/>
        </p:nvSpPr>
        <p:spPr>
          <a:xfrm>
            <a:off x="-104494" y="4909462"/>
            <a:ext cx="6731646" cy="7200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20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​"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Font typeface="Arial" panose="020B0604020202020204" pitchFamily="34" charset="0"/>
              <a:buChar char="​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​"/>
              <a:defRPr sz="1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​"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800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6000" b="1" kern="1200" spc="-3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5000"/>
              </a:lnSpc>
              <a:buNone/>
            </a:pPr>
            <a:endParaRPr lang="en-GB" sz="1800" b="1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0" indent="0" algn="ctr">
              <a:lnSpc>
                <a:spcPct val="115000"/>
              </a:lnSpc>
              <a:buNone/>
            </a:pPr>
            <a:endParaRPr lang="en-GB" sz="1800" b="1" dirty="0"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4A7EFD6-9F11-628E-1607-9D14322F9E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76987" y="857258"/>
            <a:ext cx="3644237" cy="5143484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654344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/>
              <a:t>Thank you very much for your attention!</a:t>
            </a:r>
            <a:br>
              <a:rPr lang="en-GB" sz="3600" dirty="0"/>
            </a:br>
            <a:endParaRPr lang="en-GB" sz="280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DNV Maritime Cyber Security Advisory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GB" dirty="0">
                <a:solidFill>
                  <a:schemeClr val="bg1">
                    <a:lumMod val="50000"/>
                  </a:schemeClr>
                </a:solidFill>
              </a:rPr>
              <a:t>E-Mail: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7CE36FE-039B-4A2A-85FA-F61A720481F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>
                <a:hlinkClick r:id="rId4"/>
              </a:rPr>
              <a:t>Shaun.Reardon@dnv.com</a:t>
            </a:r>
            <a:r>
              <a:rPr lang="en-US" dirty="0"/>
              <a:t>, Thierry.Coq@dnv.com</a:t>
            </a:r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505669E7-56CF-4797-898E-EF5D5E444AA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Rev. 1.0</a:t>
            </a:r>
            <a:endParaRPr lang="de-DE" dirty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8BD4C64E-3253-4405-9BA9-C6AA71BA94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4EB77F35-9227-4FAC-B7AE-53A1FC8FBB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0F8F77-4347-4BF0-A9D7-4E51985595AC}" type="slidenum">
              <a:rPr lang="de-DE" smtClean="0"/>
              <a:pPr/>
              <a:t>12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371770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A896ECC-75EF-4233-8425-6C6E0C823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539750"/>
            <a:ext cx="11110914" cy="936000"/>
          </a:xfrm>
        </p:spPr>
        <p:txBody>
          <a:bodyPr anchor="t">
            <a:normAutofit/>
          </a:bodyPr>
          <a:lstStyle/>
          <a:p>
            <a:r>
              <a:rPr lang="en-GB" dirty="0"/>
              <a:t>Who am I and why should you listen to me?</a:t>
            </a:r>
          </a:p>
        </p:txBody>
      </p:sp>
      <p:pic>
        <p:nvPicPr>
          <p:cNvPr id="4" name="Picture 3" descr="A person wearing glasses and a suit&#10;&#10;Description automatically generated with medium confidence">
            <a:extLst>
              <a:ext uri="{FF2B5EF4-FFF2-40B4-BE49-F238E27FC236}">
                <a16:creationId xmlns:a16="http://schemas.microsoft.com/office/drawing/2014/main" id="{8C0525AC-9C47-425A-8A50-F75CF3E6BA1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45" b="-1"/>
          <a:stretch/>
        </p:blipFill>
        <p:spPr>
          <a:xfrm>
            <a:off x="539750" y="1730374"/>
            <a:ext cx="5465763" cy="4316414"/>
          </a:xfrm>
          <a:prstGeom prst="rect">
            <a:avLst/>
          </a:prstGeom>
          <a:noFill/>
        </p:spPr>
      </p:pic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id="{E865C491-8A6B-F0CE-1BCE-5302D15748D1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988009813"/>
              </p:ext>
            </p:extLst>
          </p:nvPr>
        </p:nvGraphicFramePr>
        <p:xfrm>
          <a:off x="6184900" y="1730374"/>
          <a:ext cx="5465763" cy="43164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5EBF528-C502-ADEB-CC0F-623CE29606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40000" y="6440400"/>
            <a:ext cx="266400" cy="1512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l" defTabSz="914400" rtl="0" eaLnBrk="1" latinLnBrk="0" hangingPunct="1"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5BA07366-CB75-4AA8-9E5B-928B849F427C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E1DED55-C877-9CDB-D491-A8F95EC7E019}"/>
              </a:ext>
            </a:extLst>
          </p:cNvPr>
          <p:cNvSpPr/>
          <p:nvPr/>
        </p:nvSpPr>
        <p:spPr>
          <a:xfrm>
            <a:off x="407368" y="539750"/>
            <a:ext cx="9145016" cy="58499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</a:pPr>
            <a:endParaRPr lang="en-GB" sz="2000" dirty="0" err="1"/>
          </a:p>
        </p:txBody>
      </p:sp>
    </p:spTree>
    <p:extLst>
      <p:ext uri="{BB962C8B-B14F-4D97-AF65-F5344CB8AC3E}">
        <p14:creationId xmlns:p14="http://schemas.microsoft.com/office/powerpoint/2010/main" val="19368963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afety in shipping today heavily depends on cyber systems</a:t>
            </a:r>
          </a:p>
        </p:txBody>
      </p:sp>
      <p:sp>
        <p:nvSpPr>
          <p:cNvPr id="60" name="Content Placeholder 5"/>
          <p:cNvSpPr>
            <a:spLocks noGrp="1"/>
          </p:cNvSpPr>
          <p:nvPr>
            <p:ph idx="1"/>
          </p:nvPr>
        </p:nvSpPr>
        <p:spPr>
          <a:xfrm>
            <a:off x="5808695" y="1270188"/>
            <a:ext cx="5841968" cy="2362572"/>
          </a:xfrm>
          <a:prstGeom prst="rect">
            <a:avLst/>
          </a:prstGeom>
        </p:spPr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dirty="0"/>
              <a:t>IT networks, servers and clients supporting:</a:t>
            </a:r>
          </a:p>
          <a:p>
            <a:pPr>
              <a:spcBef>
                <a:spcPts val="600"/>
              </a:spcBef>
            </a:pPr>
            <a:r>
              <a:rPr lang="en-GB" sz="1200" dirty="0"/>
              <a:t>E-mail services,</a:t>
            </a:r>
          </a:p>
          <a:p>
            <a:pPr>
              <a:spcBef>
                <a:spcPts val="600"/>
              </a:spcBef>
            </a:pPr>
            <a:r>
              <a:rPr lang="en-GB" sz="1200" dirty="0"/>
              <a:t>Administration, accounts, crew lists, …</a:t>
            </a:r>
          </a:p>
          <a:p>
            <a:pPr>
              <a:spcBef>
                <a:spcPts val="600"/>
              </a:spcBef>
            </a:pPr>
            <a:r>
              <a:rPr lang="en-GB" sz="1200" dirty="0"/>
              <a:t>Planned Maintenance,</a:t>
            </a:r>
          </a:p>
          <a:p>
            <a:pPr>
              <a:spcBef>
                <a:spcPts val="600"/>
              </a:spcBef>
            </a:pPr>
            <a:r>
              <a:rPr lang="en-GB" sz="1200" dirty="0"/>
              <a:t>Spares management and requisitioning,</a:t>
            </a:r>
          </a:p>
          <a:p>
            <a:pPr>
              <a:spcBef>
                <a:spcPts val="600"/>
              </a:spcBef>
            </a:pPr>
            <a:r>
              <a:rPr lang="en-GB" sz="1200" dirty="0"/>
              <a:t>Electronic manuals,</a:t>
            </a:r>
          </a:p>
          <a:p>
            <a:pPr>
              <a:spcBef>
                <a:spcPts val="600"/>
              </a:spcBef>
            </a:pPr>
            <a:r>
              <a:rPr lang="en-GB" sz="1200" dirty="0"/>
              <a:t>Electronic certificates,</a:t>
            </a:r>
          </a:p>
          <a:p>
            <a:pPr>
              <a:spcBef>
                <a:spcPts val="600"/>
              </a:spcBef>
            </a:pPr>
            <a:r>
              <a:rPr lang="en-GB" sz="1200" dirty="0"/>
              <a:t>Permits to work,</a:t>
            </a:r>
          </a:p>
          <a:p>
            <a:pPr>
              <a:spcBef>
                <a:spcPts val="600"/>
              </a:spcBef>
            </a:pPr>
            <a:r>
              <a:rPr lang="en-GB" sz="1200" dirty="0"/>
              <a:t>Charter party, notice of readiness, bill of lading…</a:t>
            </a:r>
          </a:p>
        </p:txBody>
      </p:sp>
      <p:sp>
        <p:nvSpPr>
          <p:cNvPr id="62" name="Content Placeholder 7"/>
          <p:cNvSpPr>
            <a:spLocks noGrp="1"/>
          </p:cNvSpPr>
          <p:nvPr>
            <p:ph sz="quarter" idx="4294967295"/>
          </p:nvPr>
        </p:nvSpPr>
        <p:spPr>
          <a:xfrm>
            <a:off x="5808695" y="4119420"/>
            <a:ext cx="4241800" cy="2635250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GB" sz="1200" dirty="0"/>
              <a:t>On-board measurement and control,</a:t>
            </a:r>
          </a:p>
          <a:p>
            <a:pPr>
              <a:spcBef>
                <a:spcPts val="600"/>
              </a:spcBef>
            </a:pPr>
            <a:r>
              <a:rPr lang="en-GB" sz="1200" dirty="0"/>
              <a:t>ECDIS,</a:t>
            </a:r>
          </a:p>
          <a:p>
            <a:pPr>
              <a:spcBef>
                <a:spcPts val="600"/>
              </a:spcBef>
            </a:pPr>
            <a:r>
              <a:rPr lang="en-GB" sz="1200" dirty="0"/>
              <a:t>Power management,</a:t>
            </a:r>
          </a:p>
          <a:p>
            <a:pPr>
              <a:spcBef>
                <a:spcPts val="600"/>
              </a:spcBef>
            </a:pPr>
            <a:r>
              <a:rPr lang="en-GB" sz="1200" dirty="0"/>
              <a:t>GPS, CCTV,</a:t>
            </a:r>
          </a:p>
          <a:p>
            <a:pPr>
              <a:spcBef>
                <a:spcPts val="600"/>
              </a:spcBef>
            </a:pPr>
            <a:r>
              <a:rPr lang="en-GB" sz="1200" dirty="0"/>
              <a:t>Remote support for engines,</a:t>
            </a:r>
          </a:p>
          <a:p>
            <a:pPr>
              <a:spcBef>
                <a:spcPts val="600"/>
              </a:spcBef>
            </a:pPr>
            <a:r>
              <a:rPr lang="en-GB" sz="1200" dirty="0"/>
              <a:t>Data loggers,</a:t>
            </a:r>
          </a:p>
          <a:p>
            <a:pPr>
              <a:spcBef>
                <a:spcPts val="600"/>
              </a:spcBef>
            </a:pPr>
            <a:r>
              <a:rPr lang="en-GB" sz="1200" dirty="0"/>
              <a:t>Engine control,</a:t>
            </a:r>
          </a:p>
          <a:p>
            <a:pPr>
              <a:spcBef>
                <a:spcPts val="600"/>
              </a:spcBef>
            </a:pPr>
            <a:r>
              <a:rPr lang="en-GB" sz="1200" dirty="0"/>
              <a:t>Dynamic positioning,</a:t>
            </a:r>
          </a:p>
          <a:p>
            <a:pPr>
              <a:spcBef>
                <a:spcPts val="600"/>
              </a:spcBef>
            </a:pPr>
            <a:r>
              <a:rPr lang="en-GB" sz="1200" dirty="0"/>
              <a:t>And generally: PLCs and other automation </a:t>
            </a:r>
            <a:br>
              <a:rPr lang="en-GB" sz="1200" dirty="0"/>
            </a:br>
            <a:r>
              <a:rPr lang="en-GB" sz="1200" dirty="0"/>
              <a:t>devices</a:t>
            </a:r>
          </a:p>
        </p:txBody>
      </p:sp>
      <p:pic>
        <p:nvPicPr>
          <p:cNvPr id="7" name="Picture 2" descr="C:\Users\onil\AppData\Local\Microsoft\Windows\Temporary Internet Files\Content.IE5\LFJ7ACQY\office-48859_640[1]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4104" y="898704"/>
            <a:ext cx="1442102" cy="1086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102851" y="1644557"/>
            <a:ext cx="912109" cy="1915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3000"/>
              </a:lnSpc>
              <a:spcBef>
                <a:spcPts val="600"/>
              </a:spcBef>
            </a:pPr>
            <a:r>
              <a:rPr lang="en-GB" sz="1200" dirty="0">
                <a:solidFill>
                  <a:srgbClr val="333333"/>
                </a:solidFill>
              </a:rPr>
              <a:t>on-shore org.</a:t>
            </a:r>
          </a:p>
        </p:txBody>
      </p:sp>
      <p:pic>
        <p:nvPicPr>
          <p:cNvPr id="28" name="Picture 5"/>
          <p:cNvPicPr>
            <a:picLocks noChangeAspect="1" noChangeArrowheads="1"/>
          </p:cNvPicPr>
          <p:nvPr/>
        </p:nvPicPr>
        <p:blipFill>
          <a:blip r:embed="rId5" cstate="email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8626" y="2228680"/>
            <a:ext cx="1512168" cy="100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5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4045" y="2732737"/>
            <a:ext cx="699867" cy="617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0" name="Straight Connector 29"/>
          <p:cNvCxnSpPr/>
          <p:nvPr/>
        </p:nvCxnSpPr>
        <p:spPr>
          <a:xfrm flipH="1" flipV="1">
            <a:off x="2466446" y="2804952"/>
            <a:ext cx="66961" cy="1736312"/>
          </a:xfrm>
          <a:prstGeom prst="line">
            <a:avLst/>
          </a:prstGeom>
          <a:ln>
            <a:solidFill>
              <a:srgbClr val="33333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flipH="1">
            <a:off x="2466446" y="2732737"/>
            <a:ext cx="1691181" cy="72217"/>
          </a:xfrm>
          <a:prstGeom prst="line">
            <a:avLst/>
          </a:prstGeom>
          <a:ln>
            <a:solidFill>
              <a:srgbClr val="33333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4"/>
          <p:cNvSpPr txBox="1">
            <a:spLocks/>
          </p:cNvSpPr>
          <p:nvPr/>
        </p:nvSpPr>
        <p:spPr>
          <a:xfrm>
            <a:off x="5734304" y="972000"/>
            <a:ext cx="4243389" cy="286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b="1" u="sng" dirty="0">
                <a:solidFill>
                  <a:srgbClr val="200F4B"/>
                </a:solidFill>
                <a:latin typeface="+mj-lt"/>
                <a:ea typeface="+mj-ea"/>
                <a:cs typeface="+mj-cs"/>
              </a:rPr>
              <a:t>Information Technology (IT)</a:t>
            </a:r>
          </a:p>
        </p:txBody>
      </p:sp>
      <p:sp>
        <p:nvSpPr>
          <p:cNvPr id="61" name="Text Placeholder 6"/>
          <p:cNvSpPr txBox="1">
            <a:spLocks/>
          </p:cNvSpPr>
          <p:nvPr/>
        </p:nvSpPr>
        <p:spPr>
          <a:xfrm>
            <a:off x="5734303" y="3632760"/>
            <a:ext cx="4242692" cy="362997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" panose="05000000000000000000" pitchFamily="2" charset="2"/>
              <a:buChar char="§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6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4000" indent="-19800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b="1" u="sng" dirty="0">
                <a:solidFill>
                  <a:srgbClr val="200F4B"/>
                </a:solidFill>
                <a:latin typeface="+mj-lt"/>
                <a:ea typeface="+mj-ea"/>
                <a:cs typeface="+mj-cs"/>
              </a:rPr>
              <a:t>Operation Technology (OT)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9330979" y="1037346"/>
            <a:ext cx="1085502" cy="2455363"/>
          </a:xfrm>
          <a:prstGeom prst="rect">
            <a:avLst/>
          </a:prstGeom>
          <a:ln>
            <a:solidFill>
              <a:srgbClr val="3F9C35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>
            <a:noAutofit/>
          </a:bodyPr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endParaRPr lang="en-GB" sz="1100" dirty="0">
              <a:solidFill>
                <a:srgbClr val="333333"/>
              </a:solidFill>
            </a:endParaRPr>
          </a:p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GB" sz="1600" b="1" dirty="0">
                <a:solidFill>
                  <a:srgbClr val="3F9C35"/>
                </a:solidFill>
                <a:latin typeface="+mj-lt"/>
                <a:ea typeface="+mj-ea"/>
                <a:cs typeface="+mj-cs"/>
              </a:rPr>
              <a:t>At risk</a:t>
            </a:r>
            <a:r>
              <a:rPr lang="en-GB" sz="1400" b="1" dirty="0">
                <a:solidFill>
                  <a:srgbClr val="3F9C35"/>
                </a:solidFill>
                <a:latin typeface="+mj-lt"/>
                <a:ea typeface="+mj-ea"/>
                <a:cs typeface="+mj-cs"/>
              </a:rPr>
              <a:t>: </a:t>
            </a:r>
          </a:p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GB" sz="1300" dirty="0">
                <a:solidFill>
                  <a:srgbClr val="333333"/>
                </a:solidFill>
              </a:rPr>
              <a:t>Mainly </a:t>
            </a:r>
          </a:p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GB" sz="1300" dirty="0">
                <a:solidFill>
                  <a:srgbClr val="333333"/>
                </a:solidFill>
              </a:rPr>
              <a:t>finance </a:t>
            </a:r>
          </a:p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GB" sz="1300" dirty="0">
                <a:solidFill>
                  <a:srgbClr val="333333"/>
                </a:solidFill>
              </a:rPr>
              <a:t>and </a:t>
            </a:r>
          </a:p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GB" sz="1300" dirty="0">
                <a:solidFill>
                  <a:srgbClr val="333333"/>
                </a:solidFill>
              </a:rPr>
              <a:t>reputation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9330979" y="3789040"/>
            <a:ext cx="1085502" cy="2488031"/>
          </a:xfrm>
          <a:prstGeom prst="rect">
            <a:avLst/>
          </a:prstGeom>
          <a:ln>
            <a:solidFill>
              <a:srgbClr val="3F9C35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>
            <a:noAutofit/>
          </a:bodyPr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GB" sz="1600" b="1" dirty="0">
                <a:solidFill>
                  <a:srgbClr val="3F9C35"/>
                </a:solidFill>
                <a:latin typeface="+mj-lt"/>
                <a:ea typeface="+mj-ea"/>
                <a:cs typeface="+mj-cs"/>
              </a:rPr>
              <a:t>At risk: </a:t>
            </a:r>
          </a:p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GB" sz="1300" dirty="0">
                <a:solidFill>
                  <a:srgbClr val="333333"/>
                </a:solidFill>
              </a:rPr>
              <a:t>Life,</a:t>
            </a:r>
          </a:p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GB" sz="1300" dirty="0">
                <a:solidFill>
                  <a:srgbClr val="333333"/>
                </a:solidFill>
              </a:rPr>
              <a:t> property</a:t>
            </a:r>
          </a:p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GB" sz="1300" dirty="0">
                <a:solidFill>
                  <a:srgbClr val="333333"/>
                </a:solidFill>
              </a:rPr>
              <a:t>and</a:t>
            </a:r>
          </a:p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GB" sz="1300" dirty="0">
                <a:solidFill>
                  <a:srgbClr val="333333"/>
                </a:solidFill>
              </a:rPr>
              <a:t> environment </a:t>
            </a:r>
          </a:p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GB" sz="1300" dirty="0">
                <a:solidFill>
                  <a:srgbClr val="333333"/>
                </a:solidFill>
              </a:rPr>
              <a:t>+</a:t>
            </a:r>
          </a:p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GB" sz="1300" dirty="0">
                <a:solidFill>
                  <a:srgbClr val="333333"/>
                </a:solidFill>
              </a:rPr>
              <a:t> all of the </a:t>
            </a:r>
            <a:br>
              <a:rPr lang="en-GB" sz="1300" dirty="0">
                <a:solidFill>
                  <a:srgbClr val="333333"/>
                </a:solidFill>
              </a:rPr>
            </a:br>
            <a:r>
              <a:rPr lang="en-GB" sz="1300" dirty="0">
                <a:solidFill>
                  <a:srgbClr val="333333"/>
                </a:solidFill>
              </a:rPr>
              <a:t>above</a:t>
            </a:r>
          </a:p>
        </p:txBody>
      </p:sp>
      <p:cxnSp>
        <p:nvCxnSpPr>
          <p:cNvPr id="65" name="Straight Connector 64"/>
          <p:cNvCxnSpPr/>
          <p:nvPr/>
        </p:nvCxnSpPr>
        <p:spPr>
          <a:xfrm flipV="1">
            <a:off x="4157627" y="1853204"/>
            <a:ext cx="634507" cy="879533"/>
          </a:xfrm>
          <a:prstGeom prst="line">
            <a:avLst/>
          </a:prstGeom>
          <a:ln>
            <a:solidFill>
              <a:srgbClr val="33333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3982" y="3984742"/>
            <a:ext cx="4021190" cy="2007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C1C33DF9-9327-47C7-96FB-AAEEE7AB9CF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Rev. 1.0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CF22B76B-0368-4230-9246-7FC282F1B9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A61191E0-DC31-407C-A663-779084D14D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0F8F77-4347-4BF0-A9D7-4E51985595AC}" type="slidenum">
              <a:rPr lang="de-DE" smtClean="0"/>
              <a:pPr/>
              <a:t>3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33118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1524001" y="857251"/>
            <a:ext cx="119063" cy="119063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500" b="1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gitalization in the Maritime world in the last 10 years: Growing complexity creates new challenges</a:t>
            </a:r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5653127C-3015-412E-BD81-BBBE8C324E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749" y="1270188"/>
            <a:ext cx="4784582" cy="4317624"/>
          </a:xfrm>
        </p:spPr>
        <p:txBody>
          <a:bodyPr/>
          <a:lstStyle/>
          <a:p>
            <a:r>
              <a:rPr lang="en-US" dirty="0"/>
              <a:t>Increased automation and “aids” to crew </a:t>
            </a:r>
          </a:p>
          <a:p>
            <a:r>
              <a:rPr lang="en-US" dirty="0"/>
              <a:t>Increased communication from shore to ship and vice-versa: office, port, charterers, etc.</a:t>
            </a:r>
          </a:p>
          <a:p>
            <a:r>
              <a:rPr lang="en-US" dirty="0"/>
              <a:t>Remote condition monitoring: vibrations, pressure, temperature, etc.</a:t>
            </a:r>
          </a:p>
          <a:p>
            <a:r>
              <a:rPr lang="en-US" dirty="0"/>
              <a:t>Remote maintenance</a:t>
            </a:r>
          </a:p>
          <a:p>
            <a:r>
              <a:rPr lang="en-US" dirty="0"/>
              <a:t>Remote access to control systems</a:t>
            </a:r>
          </a:p>
          <a:p>
            <a:r>
              <a:rPr lang="en-US" dirty="0"/>
              <a:t>Remote optimizations: route layout, navigation, decarbonization or lower carbon dioxide production</a:t>
            </a:r>
          </a:p>
        </p:txBody>
      </p:sp>
      <p:sp>
        <p:nvSpPr>
          <p:cNvPr id="28" name="Date Placeholder 27">
            <a:extLst>
              <a:ext uri="{FF2B5EF4-FFF2-40B4-BE49-F238E27FC236}">
                <a16:creationId xmlns:a16="http://schemas.microsoft.com/office/drawing/2014/main" id="{8650993A-82BC-41D0-A3F6-F34E5BBD26F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Rev. 1.0</a:t>
            </a:r>
            <a:endParaRPr lang="de-DE" dirty="0"/>
          </a:p>
        </p:txBody>
      </p:sp>
      <p:sp>
        <p:nvSpPr>
          <p:cNvPr id="29" name="Footer Placeholder 28">
            <a:extLst>
              <a:ext uri="{FF2B5EF4-FFF2-40B4-BE49-F238E27FC236}">
                <a16:creationId xmlns:a16="http://schemas.microsoft.com/office/drawing/2014/main" id="{525B6737-70D0-4F98-9EC6-11C2C9BB93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30" name="Slide Number Placeholder 29">
            <a:extLst>
              <a:ext uri="{FF2B5EF4-FFF2-40B4-BE49-F238E27FC236}">
                <a16:creationId xmlns:a16="http://schemas.microsoft.com/office/drawing/2014/main" id="{577EAC71-FC4C-4480-BA94-35226967DF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0F8F77-4347-4BF0-A9D7-4E51985595AC}" type="slidenum">
              <a:rPr lang="de-DE" smtClean="0"/>
              <a:pPr/>
              <a:t>4</a:t>
            </a:fld>
            <a:endParaRPr lang="de-DE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C6B72DD-601C-397A-4F51-9BD9AC0C4780}"/>
              </a:ext>
            </a:extLst>
          </p:cNvPr>
          <p:cNvGrpSpPr/>
          <p:nvPr/>
        </p:nvGrpSpPr>
        <p:grpSpPr>
          <a:xfrm>
            <a:off x="-230333" y="-1920611"/>
            <a:ext cx="12135877" cy="7619788"/>
            <a:chOff x="-230333" y="-1920611"/>
            <a:chExt cx="12135877" cy="7619788"/>
          </a:xfrm>
        </p:grpSpPr>
        <p:sp>
          <p:nvSpPr>
            <p:cNvPr id="13" name="Arc 12"/>
            <p:cNvSpPr/>
            <p:nvPr/>
          </p:nvSpPr>
          <p:spPr>
            <a:xfrm flipV="1">
              <a:off x="382769" y="-1920611"/>
              <a:ext cx="10079389" cy="7599561"/>
            </a:xfrm>
            <a:prstGeom prst="arc">
              <a:avLst>
                <a:gd name="adj1" fmla="val 16296340"/>
                <a:gd name="adj2" fmla="val 21085791"/>
              </a:avLst>
            </a:prstGeom>
            <a:ln w="762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350"/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-230333" y="492405"/>
              <a:ext cx="11449050" cy="5206772"/>
              <a:chOff x="-5653399" y="-1165019"/>
              <a:chExt cx="15265400" cy="6942363"/>
            </a:xfrm>
          </p:grpSpPr>
          <p:sp>
            <p:nvSpPr>
              <p:cNvPr id="16" name="Arc 15"/>
              <p:cNvSpPr/>
              <p:nvPr/>
            </p:nvSpPr>
            <p:spPr>
              <a:xfrm flipV="1">
                <a:off x="-5653399" y="-1165019"/>
                <a:ext cx="15265400" cy="6942363"/>
              </a:xfrm>
              <a:prstGeom prst="arc">
                <a:avLst>
                  <a:gd name="adj1" fmla="val 16200000"/>
                  <a:gd name="adj2" fmla="val 20644511"/>
                </a:avLst>
              </a:prstGeom>
              <a:ln w="76200">
                <a:solidFill>
                  <a:schemeClr val="tx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350"/>
              </a:p>
            </p:txBody>
          </p:sp>
          <p:sp>
            <p:nvSpPr>
              <p:cNvPr id="17" name="Isosceles Triangle 16"/>
              <p:cNvSpPr/>
              <p:nvPr/>
            </p:nvSpPr>
            <p:spPr>
              <a:xfrm rot="2905940">
                <a:off x="8421802" y="3919809"/>
                <a:ext cx="260604" cy="280416"/>
              </a:xfrm>
              <a:prstGeom prst="triangl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350"/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5447928" y="1685525"/>
              <a:ext cx="6457616" cy="3986438"/>
              <a:chOff x="2326595" y="677562"/>
              <a:chExt cx="8610155" cy="5315251"/>
            </a:xfrm>
          </p:grpSpPr>
          <p:sp>
            <p:nvSpPr>
              <p:cNvPr id="10" name="AutoShape 2" descr="Bildergebnis für increasing arrow"/>
              <p:cNvSpPr>
                <a:spLocks noChangeAspect="1" noChangeArrowheads="1"/>
              </p:cNvSpPr>
              <p:nvPr/>
            </p:nvSpPr>
            <p:spPr bwMode="auto">
              <a:xfrm>
                <a:off x="5943600" y="677562"/>
                <a:ext cx="2903838" cy="290383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/>
              </a:p>
            </p:txBody>
          </p:sp>
          <p:cxnSp>
            <p:nvCxnSpPr>
              <p:cNvPr id="11" name="Straight Arrow Connector 10"/>
              <p:cNvCxnSpPr/>
              <p:nvPr/>
            </p:nvCxnSpPr>
            <p:spPr>
              <a:xfrm>
                <a:off x="2326595" y="1160463"/>
                <a:ext cx="6623242" cy="4832350"/>
              </a:xfrm>
              <a:prstGeom prst="straightConnector1">
                <a:avLst/>
              </a:prstGeom>
              <a:ln w="762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Isosceles Triangle 13"/>
              <p:cNvSpPr/>
              <p:nvPr/>
            </p:nvSpPr>
            <p:spPr>
              <a:xfrm rot="956123">
                <a:off x="8788246" y="1683259"/>
                <a:ext cx="260604" cy="280416"/>
              </a:xfrm>
              <a:prstGeom prst="triangle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350"/>
              </a:p>
            </p:txBody>
          </p:sp>
          <p:sp>
            <p:nvSpPr>
              <p:cNvPr id="3" name="TextBox 2"/>
              <p:cNvSpPr txBox="1"/>
              <p:nvPr/>
            </p:nvSpPr>
            <p:spPr>
              <a:xfrm>
                <a:off x="6948522" y="925575"/>
                <a:ext cx="3988228" cy="3831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3000"/>
                  </a:lnSpc>
                  <a:spcBef>
                    <a:spcPts val="450"/>
                  </a:spcBef>
                </a:pPr>
                <a:r>
                  <a:rPr lang="en-GB" dirty="0">
                    <a:solidFill>
                      <a:srgbClr val="333333"/>
                    </a:solidFill>
                  </a:rPr>
                  <a:t>Software &amp; Automation</a:t>
                </a: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8176876" y="3516953"/>
                <a:ext cx="2222831" cy="38318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3000"/>
                  </a:lnSpc>
                  <a:spcBef>
                    <a:spcPts val="450"/>
                  </a:spcBef>
                </a:pPr>
                <a:r>
                  <a:rPr lang="en-GB" dirty="0">
                    <a:solidFill>
                      <a:srgbClr val="333333"/>
                    </a:solidFill>
                  </a:rPr>
                  <a:t>Interconnectivity</a:t>
                </a: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2326596" y="2403619"/>
                <a:ext cx="2409195" cy="38318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13000"/>
                  </a:lnSpc>
                  <a:spcBef>
                    <a:spcPts val="450"/>
                  </a:spcBef>
                </a:pPr>
                <a:r>
                  <a:rPr lang="en-GB" dirty="0">
                    <a:solidFill>
                      <a:srgbClr val="333333"/>
                    </a:solidFill>
                  </a:rPr>
                  <a:t>Crew size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9246684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672B7AA-1445-444D-B876-3FA2D668C4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668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672B7AA-1445-444D-B876-3FA2D668C4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8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D4AE2FD-CAE6-42CC-8858-00706C60B3C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667001" y="857251"/>
            <a:ext cx="119063" cy="119063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3000"/>
              </a:lnSpc>
              <a:spcBef>
                <a:spcPts val="450"/>
              </a:spcBef>
            </a:pPr>
            <a:endParaRPr lang="en-GB" sz="1350" b="1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cxnSp>
        <p:nvCxnSpPr>
          <p:cNvPr id="72" name="Straight Connector 71"/>
          <p:cNvCxnSpPr/>
          <p:nvPr/>
        </p:nvCxnSpPr>
        <p:spPr>
          <a:xfrm>
            <a:off x="2667000" y="857250"/>
            <a:ext cx="6858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ports of incidents around the world are increasing </a:t>
            </a:r>
          </a:p>
        </p:txBody>
      </p:sp>
      <p:graphicFrame>
        <p:nvGraphicFramePr>
          <p:cNvPr id="56" name="Diagram 55"/>
          <p:cNvGraphicFramePr/>
          <p:nvPr/>
        </p:nvGraphicFramePr>
        <p:xfrm>
          <a:off x="1727308" y="1317259"/>
          <a:ext cx="8808490" cy="49182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8EE42FFE-DDD2-413D-ABC6-0714D55122A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Rev. 1.0</a:t>
            </a:r>
            <a:endParaRPr lang="de-DE" dirty="0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6B42AF81-ACF1-4BA4-8059-5D97700CF0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E6BF2D3A-BAC2-4B15-B162-002B545C47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0F8F77-4347-4BF0-A9D7-4E51985595AC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1933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CF85FA35-DDA9-4B70-88B1-CBD87863F49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13B7B340-F8E5-4C29-A021-4B1482D353E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662B85AD-98FC-4D85-9A66-C8B0DAAA132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8657FEAF-BC90-4111-A662-DAAD08330E6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E90D6C61-8917-4816-AB06-701F22EF29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640F4AD2-7879-408A-BB7F-6B74244DB68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2A258D54-F8C3-48AD-881E-5C79B911A2C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AD026414-C41F-4C76-A37C-3F38051D4FF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5E052CA5-92E9-4BEB-AFC1-2A3FFC36B09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E684A890-FC49-459B-BA63-9A78443609E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ACEE7816-3256-400C-BABC-B0931EA6370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9C80A02B-BDA8-44ED-863A-34C9461C828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609769C6-1249-4573-984E-A63195590CF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DC9C266E-E780-4BA7-8D0A-B05BA60BD7C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DB961D28-2217-4DE4-B97C-4DC1396CA7D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53B93DFA-8BC3-4A0A-9DC1-E63791BF7FE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70327323-4351-4B5C-B43C-7AA0C0E3017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BBB03AD1-F5E9-4A4C-9592-424956785DB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E825122D-D657-4FF5-A792-7F4DBBEBE9E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DDFB18D4-C0AC-4750-8997-ECC516139BF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C27D75F8-5692-4294-AEA5-8C3598E407B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E918D9D4-0D01-4EDE-BB8C-0DF19FA121D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84C0D6E6-32CE-4022-AAF6-9FF4EC550F7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490A078E-2BD4-4C3F-9F38-028BBBDB607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311832C1-9766-49DE-B17A-28AD5A1DFE7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EAF3F542-0C07-4AA4-9ECF-92843CE6233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E604335D-A693-4E39-AE9B-A0045A336EF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E5833038-1CD4-42EB-A3AB-4584AB07B99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D9E48257-7524-40BE-B79E-907DA39A59E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D0FFF254-8328-441E-A26A-67176DCFC25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3EC58343-B15C-4EA4-AE31-3B5276FEE4F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7BDAB4AB-CBAC-4C77-BA43-C9EE70B92AE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63D43688-FC36-4A38-89F2-D2A1C43046D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E7EE932D-2728-4997-92ED-43E386DA0EA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48A8BDCF-3811-4578-A055-D84DB92B940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1C41DA70-9506-4188-93DC-7E79F86CC58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02D37C0A-3756-4D5E-9837-3E67388337C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32EB963E-0379-4DD0-B813-EFDCE80DD2E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A197F4C8-2C1D-4AD2-AA18-D07DDD149DF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A340EBD6-0F5A-4FD9-B801-ED3F2274588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F241B9F9-54FB-4C12-9D06-AAB4B2D0339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240F245C-AAB4-4560-8F6F-C90DE70E2E3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0FB848D2-119E-4837-BE54-35A12CFA4A9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8477754A-3975-4780-BFC3-BD2E155BE6C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B89A3211-A247-4C38-AF0C-5A6D3B67C4C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A0E2C6B4-BD79-4940-82C3-CAD4E95E89E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485A5834-30E3-4AF4-AF99-71A91564CCF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D3E902E1-9D68-4269-AE32-48A1F7AA02F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6" grpId="0">
        <p:bldSub>
          <a:bldDgm bld="one"/>
        </p:bldSub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rrent state of the art in the Maritime Industry</a:t>
            </a:r>
            <a:br>
              <a:rPr lang="en-GB" dirty="0"/>
            </a:br>
            <a:endParaRPr lang="de-DE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The maritime industry is generally not well prepared</a:t>
            </a:r>
          </a:p>
          <a:p>
            <a:pPr marL="0" indent="0">
              <a:buNone/>
            </a:pPr>
            <a:r>
              <a:rPr lang="en-GB" dirty="0"/>
              <a:t>Digitalization will increase opportunities for cyber incidents</a:t>
            </a:r>
          </a:p>
          <a:p>
            <a:pPr marL="0" indent="0">
              <a:buNone/>
            </a:pPr>
            <a:r>
              <a:rPr lang="en-GB" dirty="0"/>
              <a:t>Cyber attacks are getting more dangerous and more prevalent year after year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1928813" y="6669361"/>
            <a:ext cx="6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endParaRPr lang="de-DE" sz="2000" dirty="0" err="1">
              <a:solidFill>
                <a:srgbClr val="0F204B"/>
              </a:solidFill>
            </a:endParaRPr>
          </a:p>
        </p:txBody>
      </p:sp>
      <p:pic>
        <p:nvPicPr>
          <p:cNvPr id="1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490" y="2624987"/>
            <a:ext cx="6114960" cy="3664560"/>
          </a:xfrm>
          <a:prstGeom prst="rect">
            <a:avLst/>
          </a:prstGeom>
        </p:spPr>
      </p:pic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81305862-3FAC-4716-9C93-8E32BDADE8D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Rev. 1.0</a:t>
            </a:r>
            <a:endParaRPr lang="de-DE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CCC396E-82F3-453F-943D-1E8412C821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0F8F77-4347-4BF0-A9D7-4E51985595AC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E4A5DB86-8BC0-4951-ACFA-B939339CB3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Maritime Cyber Security</a:t>
            </a:r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860551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78625" y="1673156"/>
            <a:ext cx="2613167" cy="375406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pSp>
        <p:nvGrpSpPr>
          <p:cNvPr id="16" name="Group 15"/>
          <p:cNvGrpSpPr/>
          <p:nvPr/>
        </p:nvGrpSpPr>
        <p:grpSpPr>
          <a:xfrm>
            <a:off x="1885975" y="1176265"/>
            <a:ext cx="7879353" cy="3103688"/>
            <a:chOff x="263352" y="1196752"/>
            <a:chExt cx="10505804" cy="4138251"/>
          </a:xfrm>
        </p:grpSpPr>
        <p:sp>
          <p:nvSpPr>
            <p:cNvPr id="7" name="Rectangle: Rounded Corners 6"/>
            <p:cNvSpPr/>
            <p:nvPr/>
          </p:nvSpPr>
          <p:spPr>
            <a:xfrm>
              <a:off x="7888836" y="5046971"/>
              <a:ext cx="2880320" cy="288032"/>
            </a:xfrm>
            <a:prstGeom prst="roundRect">
              <a:avLst/>
            </a:prstGeom>
            <a:noFill/>
            <a:ln w="254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3000"/>
                </a:lnSpc>
                <a:spcBef>
                  <a:spcPts val="450"/>
                </a:spcBef>
              </a:pPr>
              <a:endParaRPr lang="en-GB" sz="1200" dirty="0" err="1"/>
            </a:p>
          </p:txBody>
        </p:sp>
        <p:sp>
          <p:nvSpPr>
            <p:cNvPr id="10" name="Rectangle: Rounded Corners 9"/>
            <p:cNvSpPr/>
            <p:nvPr/>
          </p:nvSpPr>
          <p:spPr>
            <a:xfrm>
              <a:off x="263352" y="1196752"/>
              <a:ext cx="6840760" cy="1149447"/>
            </a:xfrm>
            <a:prstGeom prst="roundRect">
              <a:avLst/>
            </a:prstGeom>
            <a:noFill/>
            <a:ln w="25400">
              <a:solidFill>
                <a:srgbClr val="0F204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3000"/>
                </a:lnSpc>
                <a:spcBef>
                  <a:spcPts val="450"/>
                </a:spcBef>
              </a:pPr>
              <a:endParaRPr lang="en-GB" sz="1200" dirty="0" err="1"/>
            </a:p>
          </p:txBody>
        </p:sp>
        <p:cxnSp>
          <p:nvCxnSpPr>
            <p:cNvPr id="9" name="Straight Arrow Connector 8"/>
            <p:cNvCxnSpPr>
              <a:cxnSpLocks/>
            </p:cNvCxnSpPr>
            <p:nvPr/>
          </p:nvCxnSpPr>
          <p:spPr>
            <a:xfrm flipH="1" flipV="1">
              <a:off x="6792121" y="2346199"/>
              <a:ext cx="1096715" cy="2690084"/>
            </a:xfrm>
            <a:prstGeom prst="straightConnector1">
              <a:avLst/>
            </a:prstGeom>
            <a:ln w="25400"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MO Resolution MSC.428(98) </a:t>
            </a:r>
            <a:endParaRPr lang="en-GB" dirty="0">
              <a:sym typeface="Wingdings" panose="05000000000000000000" pitchFamily="2" charset="2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81757" y="1215914"/>
            <a:ext cx="5130570" cy="4317624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1600" dirty="0"/>
              <a:t>AFFIRMS that … </a:t>
            </a:r>
            <a:r>
              <a:rPr lang="en-US" sz="1600" b="1" dirty="0">
                <a:solidFill>
                  <a:srgbClr val="3F9C35"/>
                </a:solidFill>
              </a:rPr>
              <a:t>safety management system should take into account cyber risk management </a:t>
            </a:r>
            <a:r>
              <a:rPr lang="en-US" sz="1600" dirty="0"/>
              <a:t>in accordance with the </a:t>
            </a:r>
            <a:r>
              <a:rPr lang="en-GB" sz="1600" dirty="0"/>
              <a:t>ISM Code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sz="1600" dirty="0"/>
              <a:t>Where to start: MSC-FAL.1/Circ.3 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en-GB" sz="1600" dirty="0"/>
              <a:t>IT </a:t>
            </a:r>
            <a:r>
              <a:rPr lang="en-GB" sz="1600" u="sng" dirty="0"/>
              <a:t>and</a:t>
            </a:r>
            <a:r>
              <a:rPr lang="en-GB" sz="1600" dirty="0"/>
              <a:t> OT systems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en-GB" sz="1600" dirty="0"/>
              <a:t>Identify – Protect – Detect – Respond – Recover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en-GB" sz="1600" dirty="0">
                <a:sym typeface="Wingdings" panose="05000000000000000000" pitchFamily="2" charset="2"/>
              </a:rPr>
              <a:t>referring to international best practice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sz="1600" dirty="0"/>
              <a:t>However, not addressing: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en-GB" sz="1600" dirty="0"/>
              <a:t>how to assess the risk,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en-GB" sz="1600" dirty="0"/>
              <a:t>prescriptive or goal-based safety requirements,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en-GB" sz="1600" dirty="0"/>
              <a:t>Yard or vendor activities. </a:t>
            </a:r>
          </a:p>
          <a:p>
            <a:pPr lvl="1"/>
            <a:endParaRPr lang="en-GB" sz="1600" dirty="0"/>
          </a:p>
          <a:p>
            <a:pPr lvl="1"/>
            <a:endParaRPr lang="en-GB" sz="1600" dirty="0"/>
          </a:p>
          <a:p>
            <a:pPr lvl="1"/>
            <a:endParaRPr lang="en-GB" sz="16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47595" y="1716740"/>
            <a:ext cx="2627213" cy="377674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pSp>
        <p:nvGrpSpPr>
          <p:cNvPr id="29" name="Group 28"/>
          <p:cNvGrpSpPr/>
          <p:nvPr/>
        </p:nvGrpSpPr>
        <p:grpSpPr>
          <a:xfrm>
            <a:off x="7514938" y="1780027"/>
            <a:ext cx="2640061" cy="3751633"/>
            <a:chOff x="8263811" y="1437590"/>
            <a:chExt cx="3520081" cy="5002177"/>
          </a:xfrm>
        </p:grpSpPr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263811" y="1437590"/>
              <a:ext cx="3520081" cy="5002177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25" name="Rectangle: Rounded Corners 24"/>
            <p:cNvSpPr/>
            <p:nvPr/>
          </p:nvSpPr>
          <p:spPr>
            <a:xfrm>
              <a:off x="9048328" y="5148808"/>
              <a:ext cx="2242060" cy="944488"/>
            </a:xfrm>
            <a:prstGeom prst="roundRect">
              <a:avLst/>
            </a:prstGeom>
            <a:noFill/>
            <a:ln w="254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3000"/>
                </a:lnSpc>
                <a:spcBef>
                  <a:spcPts val="450"/>
                </a:spcBef>
              </a:pPr>
              <a:endParaRPr lang="en-GB" sz="1200" dirty="0" err="1"/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7595168" y="1840979"/>
            <a:ext cx="2697858" cy="3753967"/>
            <a:chOff x="8094890" y="1311637"/>
            <a:chExt cx="3597144" cy="5157192"/>
          </a:xfrm>
        </p:grpSpPr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094890" y="1311637"/>
              <a:ext cx="3597144" cy="5157192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35" name="Rectangle: Rounded Corners 34"/>
            <p:cNvSpPr/>
            <p:nvPr/>
          </p:nvSpPr>
          <p:spPr>
            <a:xfrm>
              <a:off x="8860106" y="4318556"/>
              <a:ext cx="2579204" cy="1567518"/>
            </a:xfrm>
            <a:prstGeom prst="roundRect">
              <a:avLst/>
            </a:prstGeom>
            <a:noFill/>
            <a:ln w="254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3000"/>
                </a:lnSpc>
                <a:spcBef>
                  <a:spcPts val="450"/>
                </a:spcBef>
              </a:pPr>
              <a:endParaRPr lang="en-GB" sz="1200" dirty="0" err="1"/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7647578" y="1866348"/>
            <a:ext cx="2658449" cy="3786386"/>
            <a:chOff x="8164768" y="1363982"/>
            <a:chExt cx="3544599" cy="5048514"/>
          </a:xfrm>
        </p:grpSpPr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164768" y="1363982"/>
              <a:ext cx="3544599" cy="5048514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38" name="Rectangle: Rounded Corners 37"/>
            <p:cNvSpPr/>
            <p:nvPr/>
          </p:nvSpPr>
          <p:spPr>
            <a:xfrm>
              <a:off x="8328248" y="2370010"/>
              <a:ext cx="3197081" cy="1959037"/>
            </a:xfrm>
            <a:prstGeom prst="roundRect">
              <a:avLst/>
            </a:prstGeom>
            <a:noFill/>
            <a:ln w="254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3000"/>
                </a:lnSpc>
                <a:spcBef>
                  <a:spcPts val="450"/>
                </a:spcBef>
              </a:pPr>
              <a:endParaRPr lang="en-GB" sz="1200" dirty="0" err="1"/>
            </a:p>
          </p:txBody>
        </p:sp>
      </p:grpSp>
      <p:sp>
        <p:nvSpPr>
          <p:cNvPr id="21" name="Content Placeholder 7">
            <a:extLst>
              <a:ext uri="{FF2B5EF4-FFF2-40B4-BE49-F238E27FC236}">
                <a16:creationId xmlns:a16="http://schemas.microsoft.com/office/drawing/2014/main" id="{1C70F0F8-4198-449C-B94C-3A5C5B9EE935}"/>
              </a:ext>
            </a:extLst>
          </p:cNvPr>
          <p:cNvSpPr txBox="1">
            <a:spLocks/>
          </p:cNvSpPr>
          <p:nvPr/>
        </p:nvSpPr>
        <p:spPr>
          <a:xfrm>
            <a:off x="1894938" y="5679672"/>
            <a:ext cx="8128756" cy="629649"/>
          </a:xfrm>
          <a:prstGeom prst="rect">
            <a:avLst/>
          </a:prstGeom>
          <a:solidFill>
            <a:srgbClr val="0F204B"/>
          </a:solidFill>
          <a:ln>
            <a:solidFill>
              <a:schemeClr val="accent1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54000" tIns="54000" rIns="54000" bIns="54000" rtlCol="0">
            <a:noAutofit/>
          </a:bodyPr>
          <a:lstStyle>
            <a:lvl1pPr indent="0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" panose="05000000000000000000" pitchFamily="2" charset="2"/>
              <a:buNone/>
              <a:defRPr sz="1400" b="0"/>
            </a:lvl1pPr>
            <a:lvl2pPr marL="396000" indent="-198000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/>
            </a:lvl2pPr>
            <a:lvl3pPr marL="612000" indent="-198000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/>
            </a:lvl3pPr>
            <a:lvl4pPr marL="828000" indent="-198000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/>
            </a:lvl4pPr>
            <a:lvl5pPr marL="1044000" indent="-198000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Arial" pitchFamily="34" charset="0"/>
              <a:buChar char="–"/>
              <a:defRPr sz="16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</a:lvl9pPr>
          </a:lstStyle>
          <a:p>
            <a:r>
              <a:rPr lang="en-GB" sz="1050" b="1" dirty="0">
                <a:solidFill>
                  <a:schemeClr val="bg1"/>
                </a:solidFill>
              </a:rPr>
              <a:t>Impact:</a:t>
            </a:r>
            <a:br>
              <a:rPr lang="en-GB" sz="1050" dirty="0">
                <a:solidFill>
                  <a:schemeClr val="bg1"/>
                </a:solidFill>
              </a:rPr>
            </a:br>
            <a:r>
              <a:rPr lang="en-GB" sz="1050" dirty="0">
                <a:solidFill>
                  <a:schemeClr val="bg1"/>
                </a:solidFill>
              </a:rPr>
              <a:t>Cyber risks should be addressed in safety management systems no later than the first annual verification of </a:t>
            </a:r>
            <a:r>
              <a:rPr lang="en-GB" sz="1050" dirty="0" err="1">
                <a:solidFill>
                  <a:schemeClr val="bg1"/>
                </a:solidFill>
              </a:rPr>
              <a:t>DoC</a:t>
            </a:r>
            <a:r>
              <a:rPr lang="en-GB" sz="1050" dirty="0">
                <a:solidFill>
                  <a:schemeClr val="bg1"/>
                </a:solidFill>
              </a:rPr>
              <a:t> after 1 January 2021. This is a non-mandatory requirement, but flag states may (and do) make it mandatory. </a:t>
            </a:r>
            <a:endParaRPr lang="nb-NO" sz="1050" dirty="0">
              <a:solidFill>
                <a:schemeClr val="bg1"/>
              </a:solidFill>
            </a:endParaRPr>
          </a:p>
        </p:txBody>
      </p:sp>
      <p:pic>
        <p:nvPicPr>
          <p:cNvPr id="42" name="Picture 2" descr="logo">
            <a:hlinkClick r:id="rId9"/>
            <a:extLst>
              <a:ext uri="{FF2B5EF4-FFF2-40B4-BE49-F238E27FC236}">
                <a16:creationId xmlns:a16="http://schemas.microsoft.com/office/drawing/2014/main" id="{80912F7C-AD6B-436F-866A-41A5E01620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9142" y="1215914"/>
            <a:ext cx="1771650" cy="350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5E40408A-9415-477F-B721-2A703990649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Rev. 1.0</a:t>
            </a:r>
            <a:endParaRPr lang="de-DE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CAA8F7DC-CB1B-43A3-95B2-7A5E6CC205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0F8F77-4347-4BF0-A9D7-4E51985595AC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AC22DDD2-F7CD-4D9C-A47B-26C74D8112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Maritime Cyber Security</a:t>
            </a:r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72592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46224" y="754411"/>
            <a:ext cx="9121776" cy="1298228"/>
          </a:xfrm>
          <a:gradFill flip="none" rotWithShape="1">
            <a:gsLst>
              <a:gs pos="0">
                <a:schemeClr val="accent1">
                  <a:tint val="66000"/>
                  <a:satMod val="160000"/>
                  <a:lumMod val="0"/>
                  <a:alpha val="69000"/>
                </a:schemeClr>
              </a:gs>
              <a:gs pos="100000">
                <a:schemeClr val="accent3"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</p:spPr>
        <p:txBody>
          <a:bodyPr vert="horz" lIns="182880" tIns="182880" rIns="0" bIns="0" rtlCol="0" anchor="t" anchorCtr="0">
            <a:noAutofit/>
          </a:bodyPr>
          <a:lstStyle/>
          <a:p>
            <a:r>
              <a:rPr lang="en-US" dirty="0"/>
              <a:t>4 - DNV Cyber Secure Class Notation and Recommended practices</a:t>
            </a:r>
            <a:br>
              <a:rPr lang="en-US" dirty="0"/>
            </a:br>
            <a:endParaRPr lang="en-GB" sz="2800" dirty="0"/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8B22FC14-097D-4982-B6B3-7A43D29AEE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333333"/>
                </a:solidFill>
              </a:rPr>
              <a:t>Rev. 1.0</a:t>
            </a:r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FF436EC7-D9F3-4CF6-8CFF-E6330A1347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>
                <a:solidFill>
                  <a:srgbClr val="333333"/>
                </a:solidFill>
              </a:rPr>
              <a:pPr/>
              <a:t>8</a:t>
            </a:fld>
            <a:endParaRPr lang="en-GB" dirty="0">
              <a:solidFill>
                <a:srgbClr val="333333"/>
              </a:solidFill>
            </a:endParaRP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E01F195A-D5B0-46CB-ACE5-F20D289BA8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333333"/>
                </a:solidFill>
              </a:rPr>
              <a:t>Maritime Cyber Security</a:t>
            </a:r>
            <a:endParaRPr lang="en-GB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6510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5" name="Picture 7" descr="C:\Users\paro\AppData\Local\Microsoft\Windows\Temporary Internet Files\Content.IE5\1TRWMIXL\cyber-attack-hackers-socialmarketingfella[1]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2" y="13268"/>
            <a:ext cx="9135199" cy="6858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1524000" y="13267"/>
            <a:ext cx="9144000" cy="6858005"/>
          </a:xfrm>
          <a:prstGeom prst="rect">
            <a:avLst/>
          </a:prstGeom>
          <a:solidFill>
            <a:srgbClr val="99D9F0">
              <a:alpha val="82745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endParaRPr lang="en-GB" sz="1400" dirty="0" err="1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174982" y="3371791"/>
            <a:ext cx="2484219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GB" sz="1400" b="1" i="1" dirty="0">
                <a:latin typeface="Arial Black" panose="020B0A04020102020204" pitchFamily="34" charset="0"/>
                <a:cs typeface="Arial" panose="020B0604020202020204" pitchFamily="34" charset="0"/>
              </a:rPr>
              <a:t>“Generally very good approach and description of the requirements</a:t>
            </a:r>
            <a:r>
              <a:rPr lang="en-GB" sz="1400" b="1" dirty="0">
                <a:latin typeface="Arial Black" panose="020B0A04020102020204" pitchFamily="34" charset="0"/>
                <a:cs typeface="Arial" panose="020B0604020202020204" pitchFamily="34" charset="0"/>
              </a:rPr>
              <a:t>”</a:t>
            </a:r>
          </a:p>
          <a:p>
            <a:pPr lvl="0" algn="ctr"/>
            <a:r>
              <a:rPr lang="en-GB" sz="1050" b="1" dirty="0">
                <a:latin typeface="Arial Black" panose="020B0A04020102020204" pitchFamily="34" charset="0"/>
                <a:cs typeface="Arial" panose="020B0604020202020204" pitchFamily="34" charset="0"/>
              </a:rPr>
              <a:t>Gov. agency</a:t>
            </a:r>
          </a:p>
        </p:txBody>
      </p:sp>
      <p:sp>
        <p:nvSpPr>
          <p:cNvPr id="9" name="Rectangle 8"/>
          <p:cNvSpPr/>
          <p:nvPr/>
        </p:nvSpPr>
        <p:spPr>
          <a:xfrm>
            <a:off x="8174981" y="2538275"/>
            <a:ext cx="2398822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400" b="1" i="1" dirty="0">
                <a:latin typeface="Arial Black" panose="020B0A04020102020204" pitchFamily="34" charset="0"/>
                <a:cs typeface="Arial" panose="020B0604020202020204" pitchFamily="34" charset="0"/>
              </a:rPr>
              <a:t>“This RP makes a lot of sense”</a:t>
            </a:r>
          </a:p>
          <a:p>
            <a:pPr algn="ctr"/>
            <a:r>
              <a:rPr lang="en-GB" sz="1050" b="1" dirty="0">
                <a:latin typeface="Arial Black" panose="020B0A04020102020204" pitchFamily="34" charset="0"/>
                <a:cs typeface="Arial" panose="020B0604020202020204" pitchFamily="34" charset="0"/>
              </a:rPr>
              <a:t>Shipping manager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545907" y="2062673"/>
            <a:ext cx="2401888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GB" sz="1400" b="1" i="1" dirty="0">
                <a:latin typeface="Arial Black" panose="020B0A04020102020204" pitchFamily="34" charset="0"/>
                <a:cs typeface="Arial" panose="020B0604020202020204" pitchFamily="34" charset="0"/>
              </a:rPr>
              <a:t>“We embrace this approach, thumbs up for the initiative</a:t>
            </a:r>
            <a:r>
              <a:rPr lang="en-GB" sz="1400" b="1" dirty="0">
                <a:latin typeface="Arial Black" panose="020B0A04020102020204" pitchFamily="34" charset="0"/>
                <a:cs typeface="Arial" panose="020B0604020202020204" pitchFamily="34" charset="0"/>
              </a:rPr>
              <a:t>”</a:t>
            </a:r>
          </a:p>
          <a:p>
            <a:pPr algn="ctr"/>
            <a:r>
              <a:rPr lang="en-GB" sz="1050" b="1" dirty="0">
                <a:latin typeface="Arial Black" panose="020B0A04020102020204" pitchFamily="34" charset="0"/>
                <a:cs typeface="Arial" panose="020B0604020202020204" pitchFamily="34" charset="0"/>
              </a:rPr>
              <a:t>Shipping manager</a:t>
            </a:r>
          </a:p>
          <a:p>
            <a:pPr lvl="0" algn="ctr"/>
            <a:endParaRPr lang="en-GB" sz="1050" b="1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496707" y="3332032"/>
            <a:ext cx="2592758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GB" sz="1400" b="1" i="1" dirty="0">
                <a:latin typeface="Arial Black" panose="020B0A04020102020204" pitchFamily="34" charset="0"/>
                <a:cs typeface="Arial" panose="020B0604020202020204" pitchFamily="34" charset="0"/>
              </a:rPr>
              <a:t>“This RP is absolutely useful in bridging the gap between the IT &amp; OT* worlds</a:t>
            </a:r>
            <a:r>
              <a:rPr lang="en-GB" sz="1400" b="1" dirty="0">
                <a:latin typeface="Arial Black" panose="020B0A04020102020204" pitchFamily="34" charset="0"/>
                <a:cs typeface="Arial" panose="020B0604020202020204" pitchFamily="34" charset="0"/>
              </a:rPr>
              <a:t>”</a:t>
            </a:r>
          </a:p>
          <a:p>
            <a:pPr algn="ctr"/>
            <a:r>
              <a:rPr lang="en-GB" sz="1050" b="1" dirty="0">
                <a:latin typeface="Arial Black" panose="020B0A04020102020204" pitchFamily="34" charset="0"/>
                <a:cs typeface="Arial" panose="020B0604020202020204" pitchFamily="34" charset="0"/>
              </a:rPr>
              <a:t>Shipping manager</a:t>
            </a:r>
          </a:p>
        </p:txBody>
      </p:sp>
      <p:sp>
        <p:nvSpPr>
          <p:cNvPr id="17" name="Rectangle 16"/>
          <p:cNvSpPr/>
          <p:nvPr/>
        </p:nvSpPr>
        <p:spPr>
          <a:xfrm>
            <a:off x="8203543" y="4655430"/>
            <a:ext cx="2389422" cy="17697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GB" sz="1400" b="1" i="1" dirty="0">
                <a:latin typeface="Arial Black" panose="020B0A04020102020204" pitchFamily="34" charset="0"/>
                <a:cs typeface="Arial" panose="020B0604020202020204" pitchFamily="34" charset="0"/>
              </a:rPr>
              <a:t>“Good overview of the recommended process with supporting tables, examples, checklists etc. Overall well done!</a:t>
            </a:r>
            <a:r>
              <a:rPr lang="en-GB" sz="1400" b="1" dirty="0">
                <a:latin typeface="Arial Black" panose="020B0A04020102020204" pitchFamily="34" charset="0"/>
                <a:cs typeface="Arial" panose="020B0604020202020204" pitchFamily="34" charset="0"/>
              </a:rPr>
              <a:t>”</a:t>
            </a:r>
          </a:p>
          <a:p>
            <a:pPr algn="ctr"/>
            <a:r>
              <a:rPr lang="en-GB" sz="1050" b="1" dirty="0">
                <a:latin typeface="Arial Black" panose="020B0A04020102020204" pitchFamily="34" charset="0"/>
                <a:cs typeface="Arial" panose="020B0604020202020204" pitchFamily="34" charset="0"/>
              </a:rPr>
              <a:t>Shipping manager </a:t>
            </a:r>
          </a:p>
        </p:txBody>
      </p:sp>
      <p:sp>
        <p:nvSpPr>
          <p:cNvPr id="10" name="Rectangle 9"/>
          <p:cNvSpPr/>
          <p:nvPr/>
        </p:nvSpPr>
        <p:spPr>
          <a:xfrm>
            <a:off x="8209387" y="850679"/>
            <a:ext cx="2415409" cy="15465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400" b="1" i="1" dirty="0">
                <a:latin typeface="Arial Black" panose="020B0A04020102020204" pitchFamily="34" charset="0"/>
                <a:cs typeface="Arial" panose="020B0604020202020204" pitchFamily="34" charset="0"/>
              </a:rPr>
              <a:t>This RP is a comprehensive document that provides a good approach to Cyber Security for ICS*“</a:t>
            </a:r>
          </a:p>
          <a:p>
            <a:pPr algn="ctr"/>
            <a:r>
              <a:rPr lang="en-GB" sz="1050" b="1" dirty="0">
                <a:latin typeface="Arial Black" panose="020B0A04020102020204" pitchFamily="34" charset="0"/>
                <a:cs typeface="Arial" panose="020B0604020202020204" pitchFamily="34" charset="0"/>
              </a:rPr>
              <a:t>Shipping manager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524000" y="6579783"/>
            <a:ext cx="6029920" cy="229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3000"/>
              </a:lnSpc>
              <a:spcBef>
                <a:spcPts val="600"/>
              </a:spcBef>
            </a:pPr>
            <a:r>
              <a:rPr lang="en-GB" sz="1400" dirty="0">
                <a:solidFill>
                  <a:srgbClr val="333333"/>
                </a:solidFill>
                <a:latin typeface="Broader View" pitchFamily="34" charset="0"/>
                <a:cs typeface="Arial" panose="020B0604020202020204" pitchFamily="34" charset="0"/>
              </a:rPr>
              <a:t>*OT: Operational Technology (Automation, Sensors, Industrial </a:t>
            </a:r>
            <a:r>
              <a:rPr lang="en-GB" sz="1300" dirty="0">
                <a:solidFill>
                  <a:srgbClr val="333333"/>
                </a:solidFill>
                <a:latin typeface="Broader View" pitchFamily="34" charset="0"/>
                <a:cs typeface="Arial" panose="020B0604020202020204" pitchFamily="34" charset="0"/>
              </a:rPr>
              <a:t>Control</a:t>
            </a:r>
            <a:r>
              <a:rPr lang="en-GB" sz="1400" dirty="0">
                <a:solidFill>
                  <a:srgbClr val="333333"/>
                </a:solidFill>
                <a:latin typeface="Broader View" pitchFamily="34" charset="0"/>
                <a:cs typeface="Arial" panose="020B0604020202020204" pitchFamily="34" charset="0"/>
              </a:rPr>
              <a:t> Systems (ICS)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581832" y="976345"/>
            <a:ext cx="2330038" cy="13311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400" b="1" i="1" dirty="0">
                <a:latin typeface="Arial Black" panose="020B0A04020102020204" pitchFamily="34" charset="0"/>
                <a:cs typeface="Arial" panose="020B0604020202020204" pitchFamily="34" charset="0"/>
              </a:rPr>
              <a:t>“Looks really good, best CS guideline out there”</a:t>
            </a:r>
          </a:p>
          <a:p>
            <a:pPr lvl="0" algn="ctr"/>
            <a:r>
              <a:rPr lang="en-GB" sz="1050" b="1" dirty="0">
                <a:solidFill>
                  <a:srgbClr val="333333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Passenger company</a:t>
            </a:r>
            <a:endParaRPr lang="en-GB" sz="1400" b="1" i="1" dirty="0">
              <a:solidFill>
                <a:srgbClr val="333333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/>
            <a:endParaRPr lang="en-GB" sz="1400" b="1" i="1" dirty="0"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lvl="0" algn="ctr"/>
            <a:endParaRPr lang="en-GB" sz="1400" b="1" i="1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759528" y="320646"/>
            <a:ext cx="8756073" cy="0"/>
          </a:xfrm>
          <a:prstGeom prst="line">
            <a:avLst/>
          </a:prstGeom>
          <a:ln w="28575">
            <a:solidFill>
              <a:srgbClr val="003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1759528" y="750140"/>
            <a:ext cx="8756073" cy="0"/>
          </a:xfrm>
          <a:prstGeom prst="line">
            <a:avLst/>
          </a:prstGeom>
          <a:ln w="28575">
            <a:solidFill>
              <a:srgbClr val="003B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1524000" y="24932"/>
            <a:ext cx="9144000" cy="2605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GB" sz="1600" dirty="0">
                <a:solidFill>
                  <a:srgbClr val="333333"/>
                </a:solidFill>
                <a:latin typeface="Broader View" pitchFamily="34" charset="0"/>
              </a:rPr>
              <a:t>CUSTOMER FEEDBACK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450473" y="308782"/>
            <a:ext cx="9208727" cy="4559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3000"/>
              </a:lnSpc>
              <a:spcBef>
                <a:spcPts val="600"/>
              </a:spcBef>
            </a:pPr>
            <a:r>
              <a:rPr lang="en-GB" sz="2800" dirty="0">
                <a:solidFill>
                  <a:srgbClr val="333333"/>
                </a:solidFill>
                <a:latin typeface="Broader View" pitchFamily="34" charset="0"/>
              </a:rPr>
              <a:t>CYBER SECURITY DNV-RP-0496</a:t>
            </a:r>
          </a:p>
        </p:txBody>
      </p:sp>
      <p:sp>
        <p:nvSpPr>
          <p:cNvPr id="2" name="Rectangle 1"/>
          <p:cNvSpPr/>
          <p:nvPr/>
        </p:nvSpPr>
        <p:spPr>
          <a:xfrm>
            <a:off x="1563870" y="4710747"/>
            <a:ext cx="236596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400" b="1" i="1" dirty="0">
                <a:latin typeface="Arial Black" panose="020B0A04020102020204" pitchFamily="34" charset="0"/>
                <a:cs typeface="Arial" panose="020B0604020202020204" pitchFamily="34" charset="0"/>
              </a:rPr>
              <a:t>“Outstanding guidance that can be easily understood and embraced by most organizations”</a:t>
            </a:r>
          </a:p>
          <a:p>
            <a:pPr algn="ctr"/>
            <a:r>
              <a:rPr lang="en-GB" sz="1100" b="1" dirty="0">
                <a:latin typeface="Arial Black" panose="020B0A04020102020204" pitchFamily="34" charset="0"/>
                <a:cs typeface="Arial" panose="020B0604020202020204" pitchFamily="34" charset="0"/>
              </a:rPr>
              <a:t>Flag state</a:t>
            </a:r>
          </a:p>
        </p:txBody>
      </p:sp>
      <p:grpSp>
        <p:nvGrpSpPr>
          <p:cNvPr id="11" name="Gruppieren 10"/>
          <p:cNvGrpSpPr/>
          <p:nvPr/>
        </p:nvGrpSpPr>
        <p:grpSpPr>
          <a:xfrm>
            <a:off x="4126303" y="845124"/>
            <a:ext cx="4022520" cy="5679237"/>
            <a:chOff x="2602303" y="845123"/>
            <a:chExt cx="4022520" cy="5679237"/>
          </a:xfrm>
        </p:grpSpPr>
        <p:pic>
          <p:nvPicPr>
            <p:cNvPr id="20" name="Picture 5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02303" y="845123"/>
              <a:ext cx="4022520" cy="567923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Rechteck 3"/>
            <p:cNvSpPr/>
            <p:nvPr/>
          </p:nvSpPr>
          <p:spPr>
            <a:xfrm>
              <a:off x="2888632" y="976345"/>
              <a:ext cx="3528392" cy="5804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de-DE" sz="2000" dirty="0" err="1"/>
            </a:p>
          </p:txBody>
        </p:sp>
        <p:pic>
          <p:nvPicPr>
            <p:cNvPr id="8" name="Grafik 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28069" y="1005061"/>
              <a:ext cx="677012" cy="334444"/>
            </a:xfrm>
            <a:prstGeom prst="rect">
              <a:avLst/>
            </a:prstGeom>
          </p:spPr>
        </p:pic>
      </p:grpSp>
      <p:sp>
        <p:nvSpPr>
          <p:cNvPr id="18" name="Title 17">
            <a:extLst>
              <a:ext uri="{FF2B5EF4-FFF2-40B4-BE49-F238E27FC236}">
                <a16:creationId xmlns:a16="http://schemas.microsoft.com/office/drawing/2014/main" id="{005FA8EE-3D8F-5DE0-AEBF-D111081A5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5C6E5331-AC37-1FC8-C767-9B80A05039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049" name="Date Placeholder 2048">
            <a:extLst>
              <a:ext uri="{FF2B5EF4-FFF2-40B4-BE49-F238E27FC236}">
                <a16:creationId xmlns:a16="http://schemas.microsoft.com/office/drawing/2014/main" id="{DA94E085-8D5A-45AB-9A22-AE1A670A5F7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Rev. 1.0</a:t>
            </a:r>
            <a:endParaRPr lang="de-DE" dirty="0"/>
          </a:p>
        </p:txBody>
      </p:sp>
      <p:sp>
        <p:nvSpPr>
          <p:cNvPr id="2050" name="Footer Placeholder 2049">
            <a:extLst>
              <a:ext uri="{FF2B5EF4-FFF2-40B4-BE49-F238E27FC236}">
                <a16:creationId xmlns:a16="http://schemas.microsoft.com/office/drawing/2014/main" id="{0585F31D-CC0D-48FB-8018-2E2910A751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Maritime Cyber Security</a:t>
            </a:r>
            <a:endParaRPr lang="de-DE"/>
          </a:p>
        </p:txBody>
      </p:sp>
      <p:sp>
        <p:nvSpPr>
          <p:cNvPr id="2051" name="Slide Number Placeholder 2050">
            <a:extLst>
              <a:ext uri="{FF2B5EF4-FFF2-40B4-BE49-F238E27FC236}">
                <a16:creationId xmlns:a16="http://schemas.microsoft.com/office/drawing/2014/main" id="{B3DC1C77-3FF8-47AA-A1C5-91F8F67DC1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0F8F77-4347-4BF0-A9D7-4E51985595AC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38183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DNV" val="Rzmc7Vrc"/>
  <p:tag name="ARTICULATE_PROJECT_OPEN" val="0"/>
  <p:tag name="ARTICULATE_SLIDE_COUNT" val="2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_PwGvUTmyc9G9d5u_Q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ef_yQGg8nXE1ioAUSka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DNV">
  <a:themeElements>
    <a:clrScheme name="DNV PP">
      <a:dk1>
        <a:srgbClr val="000000"/>
      </a:dk1>
      <a:lt1>
        <a:srgbClr val="FFFFFF"/>
      </a:lt1>
      <a:dk2>
        <a:srgbClr val="0F204B"/>
      </a:dk2>
      <a:lt2>
        <a:srgbClr val="F4F3EF"/>
      </a:lt2>
      <a:accent1>
        <a:srgbClr val="0F204B"/>
      </a:accent1>
      <a:accent2>
        <a:srgbClr val="99D9F0"/>
      </a:accent2>
      <a:accent3>
        <a:srgbClr val="003591"/>
      </a:accent3>
      <a:accent4>
        <a:srgbClr val="009FDA"/>
      </a:accent4>
      <a:accent5>
        <a:srgbClr val="91FFB4"/>
      </a:accent5>
      <a:accent6>
        <a:srgbClr val="3F9C35"/>
      </a:accent6>
      <a:hlink>
        <a:srgbClr val="009FDA"/>
      </a:hlink>
      <a:folHlink>
        <a:srgbClr val="3F9C35"/>
      </a:folHlink>
    </a:clrScheme>
    <a:fontScheme name="DNV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rtlCol="0" anchor="ctr"/>
      <a:lstStyle>
        <a:defPPr algn="ctr">
          <a:lnSpc>
            <a:spcPct val="100000"/>
          </a:lnSpc>
          <a:spcBef>
            <a:spcPts val="600"/>
          </a:spcBef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spcBef>
            <a:spcPts val="600"/>
          </a:spcBef>
          <a:defRPr sz="2000" dirty="0" err="1" smtClean="0">
            <a:solidFill>
              <a:schemeClr val="accent1"/>
            </a:solidFill>
          </a:defRPr>
        </a:defPPr>
      </a:lstStyle>
    </a:txDef>
  </a:objectDefaults>
  <a:extraClrSchemeLst/>
  <a:custClrLst>
    <a:custClr name="Pine forest">
      <a:srgbClr val="2B6173"/>
    </a:custClr>
    <a:custClr name="Earth">
      <a:srgbClr val="F2E6D5"/>
    </a:custClr>
    <a:custClr name="Eucalyptus">
      <a:srgbClr val="15C2BB"/>
    </a:custClr>
    <a:custClr name="Sunflower">
      <a:srgbClr val="FFF377"/>
    </a:custClr>
    <a:custClr name="Lavender">
      <a:srgbClr val="A1AAE6"/>
    </a:custClr>
    <a:custClr name="Energy Red">
      <a:srgbClr val="EB2A34"/>
    </a:custClr>
    <a:custClr name="Sandstone">
      <a:srgbClr val="CCCBC9"/>
    </a:custClr>
    <a:custClr name="Terracotta">
      <a:srgbClr val="B56700"/>
    </a:custClr>
    <a:custClr name="Warm grey">
      <a:srgbClr val="988F86"/>
    </a:custClr>
  </a:custClrLst>
  <a:extLst>
    <a:ext uri="{05A4C25C-085E-4340-85A3-A5531E510DB2}">
      <thm15:themeFamily xmlns:thm15="http://schemas.microsoft.com/office/thememl/2012/main" name="Blank.potx" id="{462ADBFF-273A-4567-B294-D5011C0B512B}" vid="{1EFF4E61-7111-49E7-B341-7E4FF95B340F}"/>
    </a:ext>
  </a:extLst>
</a:theme>
</file>

<file path=ppt/theme/theme2.xml><?xml version="1.0" encoding="utf-8"?>
<a:theme xmlns:a="http://schemas.openxmlformats.org/drawingml/2006/main" name="Office Theme">
  <a:themeElements>
    <a:clrScheme name="DNV PP">
      <a:dk1>
        <a:srgbClr val="000000"/>
      </a:dk1>
      <a:lt1>
        <a:srgbClr val="FFFFFF"/>
      </a:lt1>
      <a:dk2>
        <a:srgbClr val="0F204B"/>
      </a:dk2>
      <a:lt2>
        <a:srgbClr val="F4F3EF"/>
      </a:lt2>
      <a:accent1>
        <a:srgbClr val="0F204B"/>
      </a:accent1>
      <a:accent2>
        <a:srgbClr val="99D9F0"/>
      </a:accent2>
      <a:accent3>
        <a:srgbClr val="003591"/>
      </a:accent3>
      <a:accent4>
        <a:srgbClr val="009FDA"/>
      </a:accent4>
      <a:accent5>
        <a:srgbClr val="91FFB4"/>
      </a:accent5>
      <a:accent6>
        <a:srgbClr val="3F9C35"/>
      </a:accent6>
      <a:hlink>
        <a:srgbClr val="009FDA"/>
      </a:hlink>
      <a:folHlink>
        <a:srgbClr val="3F9C35"/>
      </a:folHlink>
    </a:clrScheme>
    <a:fontScheme name="DNV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Pine forest">
      <a:srgbClr val="2B6173"/>
    </a:custClr>
    <a:custClr name="Earth">
      <a:srgbClr val="F2E6D5"/>
    </a:custClr>
    <a:custClr name="Eucalyptus">
      <a:srgbClr val="15C2BB"/>
    </a:custClr>
    <a:custClr name="Sunflower">
      <a:srgbClr val="FFF377"/>
    </a:custClr>
    <a:custClr name="Lavender">
      <a:srgbClr val="A1AAE6"/>
    </a:custClr>
    <a:custClr name="Energy Red">
      <a:srgbClr val="EB2A34"/>
    </a:custClr>
    <a:custClr name="Sandstone">
      <a:srgbClr val="CCCBC9"/>
    </a:custClr>
    <a:custClr name="Terracotta">
      <a:srgbClr val="B56700"/>
    </a:custClr>
    <a:custClr name="Warm grey">
      <a:srgbClr val="988F86"/>
    </a:custClr>
  </a:custClrLst>
</a:theme>
</file>

<file path=ppt/theme/theme3.xml><?xml version="1.0" encoding="utf-8"?>
<a:theme xmlns:a="http://schemas.openxmlformats.org/drawingml/2006/main" name="Office Theme">
  <a:themeElements>
    <a:clrScheme name="DNV PP">
      <a:dk1>
        <a:srgbClr val="000000"/>
      </a:dk1>
      <a:lt1>
        <a:srgbClr val="FFFFFF"/>
      </a:lt1>
      <a:dk2>
        <a:srgbClr val="0F204B"/>
      </a:dk2>
      <a:lt2>
        <a:srgbClr val="F4F3EF"/>
      </a:lt2>
      <a:accent1>
        <a:srgbClr val="0F204B"/>
      </a:accent1>
      <a:accent2>
        <a:srgbClr val="99D9F0"/>
      </a:accent2>
      <a:accent3>
        <a:srgbClr val="003591"/>
      </a:accent3>
      <a:accent4>
        <a:srgbClr val="009FDA"/>
      </a:accent4>
      <a:accent5>
        <a:srgbClr val="91FFB4"/>
      </a:accent5>
      <a:accent6>
        <a:srgbClr val="3F9C35"/>
      </a:accent6>
      <a:hlink>
        <a:srgbClr val="009FDA"/>
      </a:hlink>
      <a:folHlink>
        <a:srgbClr val="3F9C35"/>
      </a:folHlink>
    </a:clrScheme>
    <a:fontScheme name="DNV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063F079E925C4985A348EBDB2C910C" ma:contentTypeVersion="10" ma:contentTypeDescription="Create a new document." ma:contentTypeScope="" ma:versionID="d82cbf9016f1d3fd12706798d45588a1">
  <xsd:schema xmlns:xsd="http://www.w3.org/2001/XMLSchema" xmlns:xs="http://www.w3.org/2001/XMLSchema" xmlns:p="http://schemas.microsoft.com/office/2006/metadata/properties" xmlns:ns2="7247482d-fa09-494e-81d8-bb4816e2c95d" xmlns:ns3="5fcacf75-2ea7-421e-be22-3a35d8944361" targetNamespace="http://schemas.microsoft.com/office/2006/metadata/properties" ma:root="true" ma:fieldsID="ef5081d18bb12ca2cc3032a12d2fec2a" ns2:_="" ns3:_="">
    <xsd:import namespace="7247482d-fa09-494e-81d8-bb4816e2c95d"/>
    <xsd:import namespace="5fcacf75-2ea7-421e-be22-3a35d894436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47482d-fa09-494e-81d8-bb4816e2c9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cacf75-2ea7-421e-be22-3a35d8944361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fcacf75-2ea7-421e-be22-3a35d8944361">
      <UserInfo>
        <DisplayName>Reardon, Shaun</DisplayName>
        <AccountId>39</AccountId>
        <AccountType/>
      </UserInfo>
      <UserInfo>
        <DisplayName>Blomqvist, Jonas</DisplayName>
        <AccountId>40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2A1362F-E431-4652-85BA-056BCA2081A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47482d-fa09-494e-81d8-bb4816e2c95d"/>
    <ds:schemaRef ds:uri="5fcacf75-2ea7-421e-be22-3a35d894436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2D026E6-DEFE-4C24-B3F0-5A1732C38A3F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7247482d-fa09-494e-81d8-bb4816e2c95d"/>
    <ds:schemaRef ds:uri="5fcacf75-2ea7-421e-be22-3a35d8944361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19BA498-91D9-40D2-B1B3-40E3728F702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556</TotalTime>
  <Words>1520</Words>
  <Application>Microsoft Office PowerPoint</Application>
  <PresentationFormat>Widescreen</PresentationFormat>
  <Paragraphs>195</Paragraphs>
  <Slides>12</Slides>
  <Notes>12</Notes>
  <HiddenSlides>1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Arial</vt:lpstr>
      <vt:lpstr>Arial Black</vt:lpstr>
      <vt:lpstr>Broader View</vt:lpstr>
      <vt:lpstr>Calibri</vt:lpstr>
      <vt:lpstr>Neue Helvetica W01</vt:lpstr>
      <vt:lpstr>Symbol</vt:lpstr>
      <vt:lpstr>Verdana</vt:lpstr>
      <vt:lpstr>Wingdings</vt:lpstr>
      <vt:lpstr>DNV</vt:lpstr>
      <vt:lpstr>think-cell Slide</vt:lpstr>
      <vt:lpstr>Maritime Day   Maritime Cyber Resilience and Security in the light of new regulations IACS UR E26 / UR E27     </vt:lpstr>
      <vt:lpstr>Who am I and why should you listen to me?</vt:lpstr>
      <vt:lpstr>Safety in shipping today heavily depends on cyber systems</vt:lpstr>
      <vt:lpstr>Digitalization in the Maritime world in the last 10 years: Growing complexity creates new challenges</vt:lpstr>
      <vt:lpstr>Reports of incidents around the world are increasing </vt:lpstr>
      <vt:lpstr>Current state of the art in the Maritime Industry </vt:lpstr>
      <vt:lpstr>IMO Resolution MSC.428(98) </vt:lpstr>
      <vt:lpstr>4 - DNV Cyber Secure Class Notation and Recommended practices </vt:lpstr>
      <vt:lpstr>PowerPoint Presentation</vt:lpstr>
      <vt:lpstr>IACS released Unified Requirements on Cyber Security for ships and ship’s systems</vt:lpstr>
      <vt:lpstr>The Maritime Cyber Priority Launch  6th of June </vt:lpstr>
      <vt:lpstr>Thank you very much for your attention! </vt:lpstr>
    </vt:vector>
  </TitlesOfParts>
  <Company>DNV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öbermann, Bernhard</dc:creator>
  <cp:lastModifiedBy>Reardon, Shaun</cp:lastModifiedBy>
  <cp:revision>54</cp:revision>
  <dcterms:created xsi:type="dcterms:W3CDTF">2021-03-09T11:58:30Z</dcterms:created>
  <dcterms:modified xsi:type="dcterms:W3CDTF">2023-06-01T06:31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DocumentInfoFinished">
    <vt:lpwstr>True</vt:lpwstr>
  </property>
  <property fmtid="{D5CDD505-2E9C-101B-9397-08002B2CF9AE}" pid="4" name="ArticulateGUID">
    <vt:lpwstr>CA775B52-BBB7-4323-9187-5C03873A15F2</vt:lpwstr>
  </property>
  <property fmtid="{D5CDD505-2E9C-101B-9397-08002B2CF9AE}" pid="5" name="ArticulatePath">
    <vt:lpwstr>PPT_DNV-Academy_template2021</vt:lpwstr>
  </property>
  <property fmtid="{D5CDD505-2E9C-101B-9397-08002B2CF9AE}" pid="6" name="ContentTypeId">
    <vt:lpwstr>0x010100F3063F079E925C4985A348EBDB2C910C</vt:lpwstr>
  </property>
  <property fmtid="{D5CDD505-2E9C-101B-9397-08002B2CF9AE}" pid="7" name="MSIP_Label_22fbb032-08bf-4f1e-af46-2528cd3f96ca_Enabled">
    <vt:lpwstr>true</vt:lpwstr>
  </property>
  <property fmtid="{D5CDD505-2E9C-101B-9397-08002B2CF9AE}" pid="8" name="MSIP_Label_22fbb032-08bf-4f1e-af46-2528cd3f96ca_SetDate">
    <vt:lpwstr>2021-04-19T12:00:44Z</vt:lpwstr>
  </property>
  <property fmtid="{D5CDD505-2E9C-101B-9397-08002B2CF9AE}" pid="9" name="MSIP_Label_22fbb032-08bf-4f1e-af46-2528cd3f96ca_Method">
    <vt:lpwstr>Privileged</vt:lpwstr>
  </property>
  <property fmtid="{D5CDD505-2E9C-101B-9397-08002B2CF9AE}" pid="10" name="MSIP_Label_22fbb032-08bf-4f1e-af46-2528cd3f96ca_Name">
    <vt:lpwstr>22fbb032-08bf-4f1e-af46-2528cd3f96ca</vt:lpwstr>
  </property>
  <property fmtid="{D5CDD505-2E9C-101B-9397-08002B2CF9AE}" pid="11" name="MSIP_Label_22fbb032-08bf-4f1e-af46-2528cd3f96ca_SiteId">
    <vt:lpwstr>adf10e2b-b6e9-41d6-be2f-c12bb566019c</vt:lpwstr>
  </property>
  <property fmtid="{D5CDD505-2E9C-101B-9397-08002B2CF9AE}" pid="12" name="MSIP_Label_22fbb032-08bf-4f1e-af46-2528cd3f96ca_ActionId">
    <vt:lpwstr>91d5eca0-673b-408d-bd83-d1f6f3d1dd71</vt:lpwstr>
  </property>
  <property fmtid="{D5CDD505-2E9C-101B-9397-08002B2CF9AE}" pid="13" name="MSIP_Label_22fbb032-08bf-4f1e-af46-2528cd3f96ca_ContentBits">
    <vt:lpwstr>0</vt:lpwstr>
  </property>
</Properties>
</file>